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73" r:id="rId5"/>
  </p:sldMasterIdLst>
  <p:notesMasterIdLst>
    <p:notesMasterId r:id="rId20"/>
  </p:notesMasterIdLst>
  <p:sldIdLst>
    <p:sldId id="2147482979" r:id="rId6"/>
    <p:sldId id="2147483076" r:id="rId7"/>
    <p:sldId id="679" r:id="rId8"/>
    <p:sldId id="3231" r:id="rId9"/>
    <p:sldId id="2147483064" r:id="rId10"/>
    <p:sldId id="2147483066" r:id="rId11"/>
    <p:sldId id="2147483077" r:id="rId12"/>
    <p:sldId id="2147483072" r:id="rId13"/>
    <p:sldId id="2147483067" r:id="rId14"/>
    <p:sldId id="2147483068" r:id="rId15"/>
    <p:sldId id="2147483070" r:id="rId16"/>
    <p:sldId id="2147483071" r:id="rId17"/>
    <p:sldId id="2147483075" r:id="rId18"/>
    <p:sldId id="2147482978" r:id="rId1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602633-0D44-CE33-9B29-87D5792AC025}" name="Tega Otomiewo" initials="TO" userId="4297933b6b1c9071" providerId="Windows Live"/>
  <p188:author id="{55DC865D-EC40-0CFB-BB40-51D61A54B1FC}" name="Onoriode Ezire" initials="OE" userId="S::oezire@worldbank.org::789b98bd-f43a-4f10-ae1c-6c5a9b0f23bc" providerId="AD"/>
  <p188:author id="{9DADC8FB-F36B-BE29-E6A9-D94585CB2A97}" name="Murtala Mai" initials="MM" userId="b63f9103d074cc8d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0C3E"/>
    <a:srgbClr val="00B050"/>
    <a:srgbClr val="FFCCCC"/>
    <a:srgbClr val="4AB5C4"/>
    <a:srgbClr val="94A027"/>
    <a:srgbClr val="C0CF3A"/>
    <a:srgbClr val="549E39"/>
    <a:srgbClr val="0989B1"/>
    <a:srgbClr val="BA690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66" autoAdjust="0"/>
    <p:restoredTop sz="96236" autoAdjust="0"/>
  </p:normalViewPr>
  <p:slideViewPr>
    <p:cSldViewPr snapToGrid="0">
      <p:cViewPr varScale="1">
        <p:scale>
          <a:sx n="66" d="100"/>
          <a:sy n="66" d="100"/>
        </p:scale>
        <p:origin x="6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/>
            </a:lvl1pPr>
          </a:lstStyle>
          <a:p>
            <a:fld id="{1A2223E6-5D0A-4B46-9803-D8B1A7067B42}" type="datetimeFigureOut">
              <a:rPr lang="en-US" smtClean="0"/>
              <a:t>1/1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4" tIns="46582" rIns="93164" bIns="4658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64" tIns="46582" rIns="93164" bIns="4658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/>
            </a:lvl1pPr>
          </a:lstStyle>
          <a:p>
            <a:fld id="{880BC02F-6B3E-4535-BC2D-35ED6F56A0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072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637">
              <a:defRPr/>
            </a:pPr>
            <a:fld id="{75769568-43D2-45B7-B0FD-AD5A5D533B9D}" type="slidenum">
              <a:rPr lang="en-US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931637">
                <a:defRPr/>
              </a:pPr>
              <a:t>1</a:t>
            </a:fld>
            <a:endParaRPr lang="en-US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420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637">
              <a:defRPr/>
            </a:pPr>
            <a:fld id="{75769568-43D2-45B7-B0FD-AD5A5D533B9D}" type="slidenum">
              <a:rPr lang="en-US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931637">
                <a:defRPr/>
              </a:pPr>
              <a:t>14</a:t>
            </a:fld>
            <a:endParaRPr lang="en-US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244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7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7.jpeg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8613370-9B0D-FA5E-7095-76C27A79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69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613370-9B0D-FA5E-7095-76C27A79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7ED55E80-869C-60FF-053B-D29D0FB14A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82917" y="3895289"/>
            <a:ext cx="10395692" cy="1130907"/>
          </a:xfrm>
        </p:spPr>
        <p:txBody>
          <a:bodyPr/>
          <a:lstStyle>
            <a:lvl1pPr marL="0" indent="0" algn="ctr">
              <a:buNone/>
              <a:defRPr sz="24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nter Presentation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0884BE-2729-D438-8468-CD5745255800}"/>
              </a:ext>
            </a:extLst>
          </p:cNvPr>
          <p:cNvSpPr/>
          <p:nvPr userDrawn="1"/>
        </p:nvSpPr>
        <p:spPr>
          <a:xfrm>
            <a:off x="0" y="0"/>
            <a:ext cx="1006867" cy="6858000"/>
          </a:xfrm>
          <a:prstGeom prst="rect">
            <a:avLst/>
          </a:prstGeom>
          <a:solidFill>
            <a:srgbClr val="008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1F13E5-9C65-BB45-FD23-88CD0171627B}"/>
              </a:ext>
            </a:extLst>
          </p:cNvPr>
          <p:cNvSpPr/>
          <p:nvPr userDrawn="1"/>
        </p:nvSpPr>
        <p:spPr>
          <a:xfrm>
            <a:off x="1042591" y="0"/>
            <a:ext cx="265141" cy="685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F21A21-39E1-53DD-D557-4D68246E79A9}"/>
              </a:ext>
            </a:extLst>
          </p:cNvPr>
          <p:cNvSpPr/>
          <p:nvPr userDrawn="1"/>
        </p:nvSpPr>
        <p:spPr>
          <a:xfrm>
            <a:off x="1332104" y="0"/>
            <a:ext cx="39412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pic>
        <p:nvPicPr>
          <p:cNvPr id="25" name="Picture 24" descr="A logo for a company&#10;&#10;Description automatically generated">
            <a:extLst>
              <a:ext uri="{FF2B5EF4-FFF2-40B4-BE49-F238E27FC236}">
                <a16:creationId xmlns:a16="http://schemas.microsoft.com/office/drawing/2014/main" id="{FF882BF4-24E5-4C9E-52A1-FF05A1211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1" b="24510"/>
          <a:stretch/>
        </p:blipFill>
        <p:spPr>
          <a:xfrm>
            <a:off x="2699665" y="768201"/>
            <a:ext cx="7900827" cy="2902908"/>
          </a:xfrm>
          <a:prstGeom prst="rect">
            <a:avLst/>
          </a:prstGeom>
        </p:spPr>
      </p:pic>
      <p:pic>
        <p:nvPicPr>
          <p:cNvPr id="2052" name="Picture 4" descr="NGF Digital Repository: National Primary Health Care Development Agency ( NPHCDA)">
            <a:extLst>
              <a:ext uri="{FF2B5EF4-FFF2-40B4-BE49-F238E27FC236}">
                <a16:creationId xmlns:a16="http://schemas.microsoft.com/office/drawing/2014/main" id="{1CC2F8A2-0D74-E1F4-DFBF-6149B907A7F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7524" y="5710748"/>
            <a:ext cx="1057550" cy="937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Download World Bank Logo in SVG Vector or PNG File Format ...">
            <a:extLst>
              <a:ext uri="{FF2B5EF4-FFF2-40B4-BE49-F238E27FC236}">
                <a16:creationId xmlns:a16="http://schemas.microsoft.com/office/drawing/2014/main" id="{D5953110-E5C1-A40F-48AA-8C12121ABC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995" y="5730894"/>
            <a:ext cx="1345923" cy="897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5126B326-CDA5-0D96-CE9F-FF3F53B7B62F}"/>
              </a:ext>
            </a:extLst>
          </p:cNvPr>
          <p:cNvGrpSpPr/>
          <p:nvPr userDrawn="1"/>
        </p:nvGrpSpPr>
        <p:grpSpPr>
          <a:xfrm>
            <a:off x="8590279" y="5980935"/>
            <a:ext cx="3254446" cy="262976"/>
            <a:chOff x="8097120" y="6409622"/>
            <a:chExt cx="3254446" cy="262976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A12A293-E6EA-C54E-94BC-0C4D64CC7340}"/>
                </a:ext>
              </a:extLst>
            </p:cNvPr>
            <p:cNvSpPr/>
            <p:nvPr userDrawn="1"/>
          </p:nvSpPr>
          <p:spPr>
            <a:xfrm>
              <a:off x="8097120" y="6411237"/>
              <a:ext cx="2554849" cy="2613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>
                  <a:solidFill>
                    <a:schemeClr val="bg1"/>
                  </a:solidFill>
                  <a:latin typeface="Candara" panose="020E0502030303020204" pitchFamily="34" charset="0"/>
                  <a:sym typeface="Candara" panose="020E0502030303020204" pitchFamily="34" charset="0"/>
                </a:rPr>
                <a:t>Creating Lasting Impact…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B5248AB-5560-4984-F3A2-4ADA2ABF0DC8}"/>
                </a:ext>
              </a:extLst>
            </p:cNvPr>
            <p:cNvSpPr/>
            <p:nvPr userDrawn="1"/>
          </p:nvSpPr>
          <p:spPr>
            <a:xfrm>
              <a:off x="10696885" y="6411238"/>
              <a:ext cx="127366" cy="261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ndara" panose="020E0502030303020204" pitchFamily="34" charset="0"/>
                <a:sym typeface="Candara" panose="020E0502030303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BAE4BD7-225C-D1D9-5C45-A95B32EB3936}"/>
                </a:ext>
              </a:extLst>
            </p:cNvPr>
            <p:cNvSpPr/>
            <p:nvPr userDrawn="1"/>
          </p:nvSpPr>
          <p:spPr>
            <a:xfrm>
              <a:off x="10869166" y="6409622"/>
              <a:ext cx="482400" cy="261360"/>
            </a:xfrm>
            <a:prstGeom prst="rect">
              <a:avLst/>
            </a:prstGeom>
            <a:solidFill>
              <a:srgbClr val="008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ndara" panose="020E0502030303020204" pitchFamily="34" charset="0"/>
                <a:sym typeface="Candara" panose="020E0502030303020204" pitchFamily="34" charset="0"/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B6FA0A71-021B-59DD-E11D-51228CA024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888" y="170317"/>
            <a:ext cx="889585" cy="88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National Malaria Elimination Program | LinkedIn">
            <a:extLst>
              <a:ext uri="{FF2B5EF4-FFF2-40B4-BE49-F238E27FC236}">
                <a16:creationId xmlns:a16="http://schemas.microsoft.com/office/drawing/2014/main" id="{0D2D6655-4A11-51ED-370F-23EA914B02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7643" y="5679643"/>
            <a:ext cx="999784" cy="999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052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BCE3439-5688-4808-A8D1-4879B0A20A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313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CE3439-5688-4808-A8D1-4879B0A20A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97972A-24F2-C2C9-A212-FD1666413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3F3F3D-06E6-41B8-C465-0ABCADAD51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0EDB-FB0E-4C71-7BF3-6236A0E465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BE36BE41-264D-4B9A-B7CE-6E7DEAFF0BBB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CE01E-45BD-7E6C-3C2D-0A3D04120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F8FE9-9C50-EE6A-6D2A-9E00A0B6D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156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554EEE-1FAD-EE22-8AFA-9D3015A896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006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554EEE-1FAD-EE22-8AFA-9D3015A89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B83235E0-CEBA-1E34-58DF-2CDC865D84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4CC02F-F953-2D69-035F-2B1CCEDBDD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1C46D4-BA82-6647-0DDF-EA1DC5E758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01EA7EDB-5136-4D8C-A9C6-B8BBC3DA484B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6EE63E-3786-685C-D04F-AD03B7A32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C3FB2-CCB2-6BDB-1389-2C4318720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5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8613370-9B0D-FA5E-7095-76C27A79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69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613370-9B0D-FA5E-7095-76C27A79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7ED55E80-869C-60FF-053B-D29D0FB14A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82917" y="3895289"/>
            <a:ext cx="10395692" cy="1130907"/>
          </a:xfrm>
        </p:spPr>
        <p:txBody>
          <a:bodyPr/>
          <a:lstStyle>
            <a:lvl1pPr marL="0" indent="0" algn="ctr">
              <a:buNone/>
              <a:defRPr sz="24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nter Presentation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0884BE-2729-D438-8468-CD5745255800}"/>
              </a:ext>
            </a:extLst>
          </p:cNvPr>
          <p:cNvSpPr/>
          <p:nvPr userDrawn="1"/>
        </p:nvSpPr>
        <p:spPr>
          <a:xfrm>
            <a:off x="0" y="0"/>
            <a:ext cx="1006867" cy="6858000"/>
          </a:xfrm>
          <a:prstGeom prst="rect">
            <a:avLst/>
          </a:prstGeom>
          <a:solidFill>
            <a:srgbClr val="008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1F13E5-9C65-BB45-FD23-88CD0171627B}"/>
              </a:ext>
            </a:extLst>
          </p:cNvPr>
          <p:cNvSpPr/>
          <p:nvPr userDrawn="1"/>
        </p:nvSpPr>
        <p:spPr>
          <a:xfrm>
            <a:off x="1042591" y="0"/>
            <a:ext cx="265141" cy="685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F21A21-39E1-53DD-D557-4D68246E79A9}"/>
              </a:ext>
            </a:extLst>
          </p:cNvPr>
          <p:cNvSpPr/>
          <p:nvPr userDrawn="1"/>
        </p:nvSpPr>
        <p:spPr>
          <a:xfrm>
            <a:off x="1332104" y="0"/>
            <a:ext cx="39412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pic>
        <p:nvPicPr>
          <p:cNvPr id="25" name="Picture 24" descr="A logo for a company&#10;&#10;Description automatically generated">
            <a:extLst>
              <a:ext uri="{FF2B5EF4-FFF2-40B4-BE49-F238E27FC236}">
                <a16:creationId xmlns:a16="http://schemas.microsoft.com/office/drawing/2014/main" id="{FF882BF4-24E5-4C9E-52A1-FF05A1211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1" b="24510"/>
          <a:stretch/>
        </p:blipFill>
        <p:spPr>
          <a:xfrm>
            <a:off x="2699665" y="768201"/>
            <a:ext cx="7900827" cy="2902908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5126B326-CDA5-0D96-CE9F-FF3F53B7B62F}"/>
              </a:ext>
            </a:extLst>
          </p:cNvPr>
          <p:cNvGrpSpPr/>
          <p:nvPr userDrawn="1"/>
        </p:nvGrpSpPr>
        <p:grpSpPr>
          <a:xfrm>
            <a:off x="8590279" y="5980935"/>
            <a:ext cx="3254446" cy="262976"/>
            <a:chOff x="8097120" y="6409622"/>
            <a:chExt cx="3254446" cy="262976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A12A293-E6EA-C54E-94BC-0C4D64CC7340}"/>
                </a:ext>
              </a:extLst>
            </p:cNvPr>
            <p:cNvSpPr/>
            <p:nvPr userDrawn="1"/>
          </p:nvSpPr>
          <p:spPr>
            <a:xfrm>
              <a:off x="8097120" y="6411237"/>
              <a:ext cx="2554849" cy="2613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>
                  <a:solidFill>
                    <a:schemeClr val="bg1"/>
                  </a:solidFill>
                  <a:latin typeface="Candara" panose="020E0502030303020204" pitchFamily="34" charset="0"/>
                  <a:sym typeface="Candara" panose="020E0502030303020204" pitchFamily="34" charset="0"/>
                </a:rPr>
                <a:t>Creating Lasting Impact…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B5248AB-5560-4984-F3A2-4ADA2ABF0DC8}"/>
                </a:ext>
              </a:extLst>
            </p:cNvPr>
            <p:cNvSpPr/>
            <p:nvPr userDrawn="1"/>
          </p:nvSpPr>
          <p:spPr>
            <a:xfrm>
              <a:off x="10696885" y="6411238"/>
              <a:ext cx="127366" cy="261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ndara" panose="020E0502030303020204" pitchFamily="34" charset="0"/>
                <a:sym typeface="Candara" panose="020E0502030303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BAE4BD7-225C-D1D9-5C45-A95B32EB3936}"/>
                </a:ext>
              </a:extLst>
            </p:cNvPr>
            <p:cNvSpPr/>
            <p:nvPr userDrawn="1"/>
          </p:nvSpPr>
          <p:spPr>
            <a:xfrm>
              <a:off x="10869166" y="6409622"/>
              <a:ext cx="482400" cy="261360"/>
            </a:xfrm>
            <a:prstGeom prst="rect">
              <a:avLst/>
            </a:prstGeom>
            <a:solidFill>
              <a:srgbClr val="008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ndara" panose="020E0502030303020204" pitchFamily="34" charset="0"/>
                <a:sym typeface="Candara" panose="020E0502030303020204" pitchFamily="34" charset="0"/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B6FA0A71-021B-59DD-E11D-51228CA024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888" y="170317"/>
            <a:ext cx="889585" cy="88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A47D1C9-FFAE-FA69-9B7B-395D628AAACA}"/>
              </a:ext>
            </a:extLst>
          </p:cNvPr>
          <p:cNvGrpSpPr/>
          <p:nvPr userDrawn="1"/>
        </p:nvGrpSpPr>
        <p:grpSpPr>
          <a:xfrm>
            <a:off x="1520626" y="5737125"/>
            <a:ext cx="4727608" cy="972290"/>
            <a:chOff x="1505878" y="6149903"/>
            <a:chExt cx="3835658" cy="648000"/>
          </a:xfrm>
        </p:grpSpPr>
        <p:pic>
          <p:nvPicPr>
            <p:cNvPr id="5" name="Picture 4" descr="A logo for a company&#10;&#10;Description automatically generated">
              <a:extLst>
                <a:ext uri="{FF2B5EF4-FFF2-40B4-BE49-F238E27FC236}">
                  <a16:creationId xmlns:a16="http://schemas.microsoft.com/office/drawing/2014/main" id="{5452DE2C-383E-080B-916C-BECD51D6F3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3536" y="6149903"/>
              <a:ext cx="648000" cy="648000"/>
            </a:xfrm>
            <a:prstGeom prst="rect">
              <a:avLst/>
            </a:prstGeom>
          </p:spPr>
        </p:pic>
        <p:pic>
          <p:nvPicPr>
            <p:cNvPr id="6" name="Picture 4" descr="BTA :: World Bank Cuts 2023 Global Growth Forecast to 1.7%, Bulgaria with  Forecast Growth of 1.7%">
              <a:extLst>
                <a:ext uri="{FF2B5EF4-FFF2-40B4-BE49-F238E27FC236}">
                  <a16:creationId xmlns:a16="http://schemas.microsoft.com/office/drawing/2014/main" id="{F841FF71-6EC5-B938-E300-C0C504AEE8B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2946" y="6149903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NGF Digital Repository: National Primary Health Care Development Agency ( NPHCDA)">
              <a:extLst>
                <a:ext uri="{FF2B5EF4-FFF2-40B4-BE49-F238E27FC236}">
                  <a16:creationId xmlns:a16="http://schemas.microsoft.com/office/drawing/2014/main" id="{F54430E0-141F-9823-B179-18DA1968AA7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0584" y="6149903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5835E64B-525F-55D6-6515-DFD7673EF8F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5878" y="6149903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National Malaria Elimination Program | LinkedIn">
              <a:extLst>
                <a:ext uri="{FF2B5EF4-FFF2-40B4-BE49-F238E27FC236}">
                  <a16:creationId xmlns:a16="http://schemas.microsoft.com/office/drawing/2014/main" id="{E2584679-C070-8700-0359-3C88CCB23C2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9750" y="6149903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47719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002C24D-9B25-196C-15BB-C4400AA79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04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02C24D-9B25-196C-15BB-C4400AA79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256CC4-9C82-DEFA-6FAE-3C77D1D85A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8" y="1825625"/>
            <a:ext cx="9874321" cy="4225854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AA0AAF-0BBF-4A22-C94C-E64A21D55F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92A33-9C8F-FBB4-47DE-ED73E8D8E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365125"/>
            <a:ext cx="9874322" cy="1325563"/>
          </a:xfrm>
        </p:spPr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65EAC9-B98C-B33B-FD29-C19F6AA8ADC2}"/>
              </a:ext>
            </a:extLst>
          </p:cNvPr>
          <p:cNvSpPr/>
          <p:nvPr userDrawn="1"/>
        </p:nvSpPr>
        <p:spPr>
          <a:xfrm>
            <a:off x="0" y="0"/>
            <a:ext cx="1006867" cy="6143946"/>
          </a:xfrm>
          <a:prstGeom prst="rect">
            <a:avLst/>
          </a:prstGeom>
          <a:solidFill>
            <a:srgbClr val="008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DE3C28-CFD7-4A8D-D65D-9AF2128FC8D3}"/>
              </a:ext>
            </a:extLst>
          </p:cNvPr>
          <p:cNvSpPr/>
          <p:nvPr userDrawn="1"/>
        </p:nvSpPr>
        <p:spPr>
          <a:xfrm>
            <a:off x="1042591" y="0"/>
            <a:ext cx="265141" cy="614394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EFF80D-21AC-53CF-CD07-B847CCE6EF45}"/>
              </a:ext>
            </a:extLst>
          </p:cNvPr>
          <p:cNvSpPr/>
          <p:nvPr userDrawn="1"/>
        </p:nvSpPr>
        <p:spPr>
          <a:xfrm>
            <a:off x="1332104" y="0"/>
            <a:ext cx="39412" cy="614394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660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34A844D-F331-2A50-36AA-E861A1E4BC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99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4A844D-F331-2A50-36AA-E861A1E4B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829DF2-83C2-D262-9AB0-CC440B6066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246EC-86A7-CB90-6DB4-A410136DE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C6DDA8-69E4-CB67-DCF1-7F7CD48AA9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915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B306CE-BBAA-1477-9D46-A18ECC99D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31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B306CE-BBAA-1477-9D46-A18ECC99D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25B466-52E0-89C6-E43A-A1D0EC0F2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E31D6-8E27-9154-4F14-A77F832A17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C89844-D3F0-E1B0-43C6-1FEDB435D1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D71A4F-510A-2E32-4203-0E3ED03F8A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605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1E776AC-25DE-BA0F-82FC-D523FEFEA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351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E776AC-25DE-BA0F-82FC-D523FEFEA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B8099D-1A0A-4BFB-9561-F447E978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831E61-2890-56D6-D14B-BFD947FF1C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089D41-E350-9B70-2123-1AD2EA7416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87AAA-0259-08D6-F787-D623169D34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6A9F0D-1AEB-6389-D834-1FB2F55BA3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DEB020-F689-6957-EAAE-ACE588E7D8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7276A0EC-010A-4DCF-93C2-ACEC23A0165A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4AC0A9-854A-8C44-C73A-49CEAD55A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488663-D744-83BD-D4AD-674DA72E7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78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C24FBAF-4390-D67C-1B9B-BFCC131308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987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4FBAF-4390-D67C-1B9B-BFCC13130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90975D-FF2E-6EEB-85F7-01E80694E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1356CE-45BD-81A6-0E2A-5297A6BF7A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B6B85F2E-13E7-43BA-AF10-41B79D0427E5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6BCC0F-9B3A-2ED5-2120-D90203FC9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D0689-A2FD-03D7-A5A3-F0BF7A947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2405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97712C-A543-0749-8641-34A59E43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5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97712C-A543-0749-8641-34A59E43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94D8C7-A39C-A94A-AD38-3C2CDEE0FC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5FB45F68-9246-46F7-8BC8-B944C3A18040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30CAB8-ED16-AC89-79C5-2FE7739F7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28E833-4139-5EEB-64A2-FA135B338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119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2F2F064-98D5-F83E-1E84-D8CB5FF05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33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F2F064-98D5-F83E-1E84-D8CB5FF05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C43690-48E4-7285-A8C1-A66D7A238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463EFE-B2C9-2D30-760D-DE1CE49E6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  <a:sym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6EAC9B-ED4D-0D89-8057-E77B99B941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D745CE-7DFC-B3D0-B443-4765BF3EDB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C66EBB5A-B0E7-4BF7-AB9A-AF5A7BA79D45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101C4F-5848-E7A7-D164-35802E9CE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973F70-F24F-3E60-ADFC-59422B5BB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736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002C24D-9B25-196C-15BB-C4400AA79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04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02C24D-9B25-196C-15BB-C4400AA79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256CC4-9C82-DEFA-6FAE-3C77D1D85A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8" y="1825625"/>
            <a:ext cx="9874321" cy="4225854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AA0AAF-0BBF-4A22-C94C-E64A21D55F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BF92A33-9C8F-FBB4-47DE-ED73E8D8E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365125"/>
            <a:ext cx="9874322" cy="1325563"/>
          </a:xfrm>
        </p:spPr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65EAC9-B98C-B33B-FD29-C19F6AA8ADC2}"/>
              </a:ext>
            </a:extLst>
          </p:cNvPr>
          <p:cNvSpPr/>
          <p:nvPr userDrawn="1"/>
        </p:nvSpPr>
        <p:spPr>
          <a:xfrm>
            <a:off x="0" y="0"/>
            <a:ext cx="1006867" cy="6143946"/>
          </a:xfrm>
          <a:prstGeom prst="rect">
            <a:avLst/>
          </a:prstGeom>
          <a:solidFill>
            <a:srgbClr val="008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DE3C28-CFD7-4A8D-D65D-9AF2128FC8D3}"/>
              </a:ext>
            </a:extLst>
          </p:cNvPr>
          <p:cNvSpPr/>
          <p:nvPr userDrawn="1"/>
        </p:nvSpPr>
        <p:spPr>
          <a:xfrm>
            <a:off x="1042591" y="0"/>
            <a:ext cx="265141" cy="614394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EFF80D-21AC-53CF-CD07-B847CCE6EF45}"/>
              </a:ext>
            </a:extLst>
          </p:cNvPr>
          <p:cNvSpPr/>
          <p:nvPr userDrawn="1"/>
        </p:nvSpPr>
        <p:spPr>
          <a:xfrm>
            <a:off x="1332104" y="0"/>
            <a:ext cx="39412" cy="614394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739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597B3F6-FE6B-9FBC-56A8-7F024D628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652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97B3F6-FE6B-9FBC-56A8-7F024D628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1E4665-28DF-8F76-280B-C9EBE0B6D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DDBC35-ECDB-D62A-FB37-0B6C92D98D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297A7C-38A4-4759-7EEB-FBF0737B15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65B430-386A-E83A-DB1C-096FAC20B5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3C27237F-5A7C-4A2F-91CD-D16D2AAE4D6C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6336A4-E464-3D72-204E-C5C801783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DB2F7F-7611-0974-11BB-32F1F4382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6192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BCE3439-5688-4808-A8D1-4879B0A20A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313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CE3439-5688-4808-A8D1-4879B0A20A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97972A-24F2-C2C9-A212-FD1666413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3F3F3D-06E6-41B8-C465-0ABCADAD51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0EDB-FB0E-4C71-7BF3-6236A0E465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BE36BE41-264D-4B9A-B7CE-6E7DEAFF0BBB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CE01E-45BD-7E6C-3C2D-0A3D04120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F8FE9-9C50-EE6A-6D2A-9E00A0B6D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8437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554EEE-1FAD-EE22-8AFA-9D3015A896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006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554EEE-1FAD-EE22-8AFA-9D3015A89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B83235E0-CEBA-1E34-58DF-2CDC865D84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4CC02F-F953-2D69-035F-2B1CCEDBDD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1C46D4-BA82-6647-0DDF-EA1DC5E758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01EA7EDB-5136-4D8C-A9C6-B8BBC3DA484B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6EE63E-3786-685C-D04F-AD03B7A32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C3FB2-CCB2-6BDB-1389-2C4318720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1574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 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257179"/>
            <a:ext cx="11226800" cy="249299"/>
          </a:xfr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90000"/>
              </a:lnSpc>
              <a:defRPr lang="en-US" sz="1800" b="1" kern="120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lvl="0" algn="l" defTabSz="51435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3" name="Oval 48"/>
          <p:cNvSpPr/>
          <p:nvPr userDrawn="1"/>
        </p:nvSpPr>
        <p:spPr>
          <a:xfrm>
            <a:off x="136448" y="1183283"/>
            <a:ext cx="3720629" cy="5351348"/>
          </a:xfrm>
          <a:custGeom>
            <a:avLst/>
            <a:gdLst/>
            <a:ahLst/>
            <a:cxnLst/>
            <a:rect l="l" t="t" r="r" b="b"/>
            <a:pathLst>
              <a:path w="2885924" h="5534398">
                <a:moveTo>
                  <a:pt x="0" y="0"/>
                </a:moveTo>
                <a:cubicBezTo>
                  <a:pt x="1593852" y="0"/>
                  <a:pt x="2885924" y="1238917"/>
                  <a:pt x="2885924" y="2767199"/>
                </a:cubicBezTo>
                <a:cubicBezTo>
                  <a:pt x="2885924" y="4295481"/>
                  <a:pt x="1593852" y="5534398"/>
                  <a:pt x="0" y="5534398"/>
                </a:cubicBezTo>
                <a:close/>
              </a:path>
            </a:pathLst>
          </a:custGeom>
          <a:solidFill>
            <a:schemeClr val="bg1">
              <a:lumMod val="75000"/>
              <a:alpha val="36000"/>
            </a:schemeClr>
          </a:solidFill>
          <a:ln w="22225">
            <a:noFill/>
          </a:ln>
          <a:effectLst>
            <a:outerShdw blurRad="50800" dist="38100" algn="l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ln>
                <a:noFill/>
              </a:ln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4" name="Oval 48"/>
          <p:cNvSpPr/>
          <p:nvPr userDrawn="1"/>
        </p:nvSpPr>
        <p:spPr>
          <a:xfrm>
            <a:off x="1" y="1091758"/>
            <a:ext cx="3847899" cy="5534398"/>
          </a:xfrm>
          <a:custGeom>
            <a:avLst/>
            <a:gdLst/>
            <a:ahLst/>
            <a:cxnLst/>
            <a:rect l="l" t="t" r="r" b="b"/>
            <a:pathLst>
              <a:path w="2885924" h="5534398">
                <a:moveTo>
                  <a:pt x="0" y="0"/>
                </a:moveTo>
                <a:cubicBezTo>
                  <a:pt x="1593852" y="0"/>
                  <a:pt x="2885924" y="1238917"/>
                  <a:pt x="2885924" y="2767199"/>
                </a:cubicBezTo>
                <a:cubicBezTo>
                  <a:pt x="2885924" y="4295481"/>
                  <a:pt x="1593852" y="5534398"/>
                  <a:pt x="0" y="5534398"/>
                </a:cubicBez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ln>
                <a:noFill/>
              </a:ln>
              <a:solidFill>
                <a:prstClr val="white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55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34A844D-F331-2A50-36AA-E861A1E4BC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99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4A844D-F331-2A50-36AA-E861A1E4B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829DF2-83C2-D262-9AB0-CC440B6066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246EC-86A7-CB90-6DB4-A410136DE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C6DDA8-69E4-CB67-DCF1-7F7CD48AA9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245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B306CE-BBAA-1477-9D46-A18ECC99D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31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B306CE-BBAA-1477-9D46-A18ECC99D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25B466-52E0-89C6-E43A-A1D0EC0F2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E31D6-8E27-9154-4F14-A77F832A17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C89844-D3F0-E1B0-43C6-1FEDB435D1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D71A4F-510A-2E32-4203-0E3ED03F8A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2253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1E776AC-25DE-BA0F-82FC-D523FEFEA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351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E776AC-25DE-BA0F-82FC-D523FEFEA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B8099D-1A0A-4BFB-9561-F447E978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831E61-2890-56D6-D14B-BFD947FF1C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089D41-E350-9B70-2123-1AD2EA7416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87AAA-0259-08D6-F787-D623169D34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6A9F0D-1AEB-6389-D834-1FB2F55BA3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DEB020-F689-6957-EAAE-ACE588E7D8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7276A0EC-010A-4DCF-93C2-ACEC23A0165A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4AC0A9-854A-8C44-C73A-49CEAD55A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488663-D744-83BD-D4AD-674DA72E7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858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C24FBAF-4390-D67C-1B9B-BFCC131308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987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4FBAF-4390-D67C-1B9B-BFCC13130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90975D-FF2E-6EEB-85F7-01E80694E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1356CE-45BD-81A6-0E2A-5297A6BF7A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B6B85F2E-13E7-43BA-AF10-41B79D0427E5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6BCC0F-9B3A-2ED5-2120-D90203FC9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D0689-A2FD-03D7-A5A3-F0BF7A947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984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97712C-A543-0749-8641-34A59E43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5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97712C-A543-0749-8641-34A59E43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94D8C7-A39C-A94A-AD38-3C2CDEE0FC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5FB45F68-9246-46F7-8BC8-B944C3A18040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30CAB8-ED16-AC89-79C5-2FE7739F7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28E833-4139-5EEB-64A2-FA135B338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067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2F2F064-98D5-F83E-1E84-D8CB5FF05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33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F2F064-98D5-F83E-1E84-D8CB5FF05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C43690-48E4-7285-A8C1-A66D7A238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463EFE-B2C9-2D30-760D-DE1CE49E6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  <a:sym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  <a:sym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  <a:sym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  <a:sym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6EAC9B-ED4D-0D89-8057-E77B99B941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D745CE-7DFC-B3D0-B443-4765BF3EDB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C66EBB5A-B0E7-4BF7-AB9A-AF5A7BA79D45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101C4F-5848-E7A7-D164-35802E9CE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973F70-F24F-3E60-ADFC-59422B5BB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682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597B3F6-FE6B-9FBC-56A8-7F024D628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652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97B3F6-FE6B-9FBC-56A8-7F024D628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1E4665-28DF-8F76-280B-C9EBE0B6D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DDBC35-ECDB-D62A-FB37-0B6C92D98D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297A7C-38A4-4759-7EEB-FBF0737B15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  <a:sym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65B430-386A-E83A-DB1C-096FAC20B5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3C27237F-5A7C-4A2F-91CD-D16D2AAE4D6C}" type="datetime1">
              <a:rPr lang="en-US" smtClean="0"/>
              <a:pPr/>
              <a:t>1/1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6336A4-E464-3D72-204E-C5C801783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DB2F7F-7611-0974-11BB-32F1F4382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916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F2A04D7-9947-79F1-2CD5-E0E5F9D94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12320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2A04D7-9947-79F1-2CD5-E0E5F9D94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70B2-56D9-3961-900D-F9167FD54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BD47DF-DC2C-163C-D70F-D4E850F345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2258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BBCD58-7A14-BBB3-06D3-8501EB91C6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0058" y="6411237"/>
            <a:ext cx="483742" cy="261360"/>
          </a:xfrm>
          <a:prstGeom prst="rect">
            <a:avLst/>
          </a:prstGeom>
          <a:solidFill>
            <a:srgbClr val="008A4A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3DF2E7-89D7-7458-BBDF-A893DDD8398A}"/>
              </a:ext>
            </a:extLst>
          </p:cNvPr>
          <p:cNvSpPr/>
          <p:nvPr userDrawn="1"/>
        </p:nvSpPr>
        <p:spPr>
          <a:xfrm>
            <a:off x="8097120" y="6411237"/>
            <a:ext cx="2554849" cy="2613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t>Creating Lasting Impact…</a:t>
            </a:r>
          </a:p>
        </p:txBody>
      </p:sp>
      <p:pic>
        <p:nvPicPr>
          <p:cNvPr id="12" name="Picture 11" descr="A logo for a company&#10;&#10;Description automatically generated">
            <a:extLst>
              <a:ext uri="{FF2B5EF4-FFF2-40B4-BE49-F238E27FC236}">
                <a16:creationId xmlns:a16="http://schemas.microsoft.com/office/drawing/2014/main" id="{AF3AE648-4BCE-3F71-BC61-7D4B9CF426E3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3" y="6197369"/>
            <a:ext cx="648000" cy="648000"/>
          </a:xfrm>
          <a:prstGeom prst="rect">
            <a:avLst/>
          </a:prstGeom>
        </p:spPr>
      </p:pic>
      <p:pic>
        <p:nvPicPr>
          <p:cNvPr id="1028" name="Picture 4" descr="BTA :: World Bank Cuts 2023 Global Growth Forecast to 1.7%, Bulgaria with  Forecast Growth of 1.7%">
            <a:extLst>
              <a:ext uri="{FF2B5EF4-FFF2-40B4-BE49-F238E27FC236}">
                <a16:creationId xmlns:a16="http://schemas.microsoft.com/office/drawing/2014/main" id="{CE3A49C1-38CB-0278-B2B0-86A3C94B5C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67" y="619736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GF Digital Repository: National Primary Health Care Development Agency ( NPHCDA)">
            <a:extLst>
              <a:ext uri="{FF2B5EF4-FFF2-40B4-BE49-F238E27FC236}">
                <a16:creationId xmlns:a16="http://schemas.microsoft.com/office/drawing/2014/main" id="{37E74B22-A99E-732A-BA0B-50622D3A27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347" y="6207643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2BB657FD-EEF6-2A15-FAE8-C9B90DE005FA}"/>
              </a:ext>
            </a:extLst>
          </p:cNvPr>
          <p:cNvSpPr/>
          <p:nvPr userDrawn="1"/>
        </p:nvSpPr>
        <p:spPr>
          <a:xfrm>
            <a:off x="10690582" y="6411238"/>
            <a:ext cx="127366" cy="261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C0D82AB-623C-05F5-E450-D98417E56A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360" y="6187095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National Malaria Elimination Program | LinkedIn">
            <a:extLst>
              <a:ext uri="{FF2B5EF4-FFF2-40B4-BE49-F238E27FC236}">
                <a16:creationId xmlns:a16="http://schemas.microsoft.com/office/drawing/2014/main" id="{F010546A-7B36-6BEB-9992-C82653D1B3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353" y="6187095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55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  <a:sym typeface="Candara" panose="020E0502030303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F2A04D7-9947-79F1-2CD5-E0E5F9D94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12320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2A04D7-9947-79F1-2CD5-E0E5F9D94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70B2-56D9-3961-900D-F9167FD54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BD47DF-DC2C-163C-D70F-D4E850F345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2258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BBCD58-7A14-BBB3-06D3-8501EB91C6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0058" y="6411237"/>
            <a:ext cx="483742" cy="261360"/>
          </a:xfrm>
          <a:prstGeom prst="rect">
            <a:avLst/>
          </a:prstGeom>
          <a:solidFill>
            <a:srgbClr val="008A4A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Candara" panose="020E0502030303020204" pitchFamily="34" charset="0"/>
                <a:sym typeface="Candara" panose="020E0502030303020204" pitchFamily="34" charset="0"/>
              </a:defRPr>
            </a:lvl1pPr>
          </a:lstStyle>
          <a:p>
            <a:fld id="{2DEFB666-E028-425D-A846-5F60FBC6F3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3DF2E7-89D7-7458-BBDF-A893DDD8398A}"/>
              </a:ext>
            </a:extLst>
          </p:cNvPr>
          <p:cNvSpPr/>
          <p:nvPr userDrawn="1"/>
        </p:nvSpPr>
        <p:spPr>
          <a:xfrm>
            <a:off x="8097120" y="6411237"/>
            <a:ext cx="2554849" cy="2613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t>Creating Lasting Impact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B657FD-EEF6-2A15-FAE8-C9B90DE005FA}"/>
              </a:ext>
            </a:extLst>
          </p:cNvPr>
          <p:cNvSpPr/>
          <p:nvPr userDrawn="1"/>
        </p:nvSpPr>
        <p:spPr>
          <a:xfrm>
            <a:off x="10690582" y="6411238"/>
            <a:ext cx="127366" cy="261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386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  <a:sym typeface="Candara" panose="020E0502030303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  <a:sym typeface="Candara" panose="020E0502030303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59B9DD8-CE13-DA9E-16D9-16D58EAA59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9B9DD8-CE13-DA9E-16D9-16D58EAA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925CAA6B-2645-4135-E3CE-D7015FDBD82F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725081" y="3807364"/>
            <a:ext cx="9144000" cy="188804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US" sz="3200" b="1" dirty="0">
                <a:solidFill>
                  <a:schemeClr val="accent4">
                    <a:lumMod val="75000"/>
                  </a:schemeClr>
                </a:solidFill>
                <a:latin typeface="Candara"/>
              </a:rPr>
              <a:t>Adamawa State 2025 Progress Report</a:t>
            </a:r>
          </a:p>
          <a:p>
            <a:pPr marL="0" indent="0" algn="ctr">
              <a:buNone/>
            </a:pPr>
            <a:endParaRPr lang="en-US" sz="3200" b="1" dirty="0">
              <a:solidFill>
                <a:schemeClr val="accent4">
                  <a:lumMod val="75000"/>
                </a:schemeClr>
              </a:solidFill>
              <a:latin typeface="Candara"/>
            </a:endParaRPr>
          </a:p>
          <a:p>
            <a:pPr marL="0" indent="0" algn="ctr">
              <a:buNone/>
            </a:pP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7889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57EAD1F-BD54-DEE8-287B-695AB6BCD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8" y="1091381"/>
            <a:ext cx="9874321" cy="496009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 err="1">
                <a:solidFill>
                  <a:srgbClr val="FF0000"/>
                </a:solidFill>
              </a:rPr>
              <a:t>Quartly</a:t>
            </a:r>
            <a:r>
              <a:rPr lang="en-US" dirty="0">
                <a:solidFill>
                  <a:srgbClr val="FF0000"/>
                </a:solidFill>
              </a:rPr>
              <a:t> star</a:t>
            </a:r>
          </a:p>
          <a:p>
            <a:pPr>
              <a:spcAft>
                <a:spcPts val="600"/>
              </a:spcAft>
            </a:pPr>
            <a:r>
              <a:rPr lang="en-US" dirty="0"/>
              <a:t>Quarterly TWG meetings with all partners and line MDAs</a:t>
            </a:r>
          </a:p>
          <a:p>
            <a:pPr>
              <a:spcAft>
                <a:spcPts val="600"/>
              </a:spcAft>
            </a:pPr>
            <a:r>
              <a:rPr lang="en-US" dirty="0"/>
              <a:t>Establishment of situation room </a:t>
            </a:r>
          </a:p>
          <a:p>
            <a:pPr>
              <a:spcAft>
                <a:spcPts val="600"/>
              </a:spcAft>
            </a:pPr>
            <a:r>
              <a:rPr lang="en-US" dirty="0"/>
              <a:t>Participation in quarterly state  world bank coordination meeting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A35AC0-6489-50CD-0A06-B54EC87BB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E0B612-3F13-BEEF-7257-0BFA724F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7" y="87856"/>
            <a:ext cx="9874322" cy="80294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4">
                    <a:lumMod val="75000"/>
                  </a:schemeClr>
                </a:solidFill>
              </a:rPr>
              <a:t>Cross-Cutting Achievements</a:t>
            </a:r>
            <a:endParaRPr lang="en-NG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4873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52CA7CC-5333-A56C-CB3F-CA064BEE5B2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5417818"/>
              </p:ext>
            </p:extLst>
          </p:nvPr>
        </p:nvGraphicFramePr>
        <p:xfrm>
          <a:off x="1479406" y="1300343"/>
          <a:ext cx="10448826" cy="592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6801">
                  <a:extLst>
                    <a:ext uri="{9D8B030D-6E8A-4147-A177-3AD203B41FA5}">
                      <a16:colId xmlns:a16="http://schemas.microsoft.com/office/drawing/2014/main" val="952409285"/>
                    </a:ext>
                  </a:extLst>
                </a:gridCol>
                <a:gridCol w="5622025">
                  <a:extLst>
                    <a:ext uri="{9D8B030D-6E8A-4147-A177-3AD203B41FA5}">
                      <a16:colId xmlns:a16="http://schemas.microsoft.com/office/drawing/2014/main" val="2838671149"/>
                    </a:ext>
                  </a:extLst>
                </a:gridCol>
              </a:tblGrid>
              <a:tr h="760168">
                <a:tc>
                  <a:txBody>
                    <a:bodyPr/>
                    <a:lstStyle/>
                    <a:p>
                      <a:r>
                        <a:rPr lang="en-US" dirty="0"/>
                        <a:t>Challenges</a:t>
                      </a:r>
                      <a:endParaRPr lang="en-N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tigation</a:t>
                      </a:r>
                      <a:endParaRPr lang="en-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9874020"/>
                  </a:ext>
                </a:extLst>
              </a:tr>
              <a:tr h="760168">
                <a:tc>
                  <a:txBody>
                    <a:bodyPr/>
                    <a:lstStyle/>
                    <a:p>
                      <a:r>
                        <a:rPr lang="en-GB" sz="1800" dirty="0"/>
                        <a:t>Maldistribution of </a:t>
                      </a:r>
                      <a:r>
                        <a:rPr lang="en-GB" dirty="0"/>
                        <a:t>SBAs due to </a:t>
                      </a:r>
                      <a:r>
                        <a:rPr lang="en-GB" sz="1800" dirty="0"/>
                        <a:t>political interference and insecurity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ntroduction of</a:t>
                      </a:r>
                      <a:r>
                        <a:rPr lang="en-GB" sz="1800" dirty="0"/>
                        <a:t> rural posting allowances </a:t>
                      </a:r>
                    </a:p>
                    <a:p>
                      <a:r>
                        <a:rPr lang="en-NG" dirty="0"/>
                        <a:t>(equity in paymen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320969"/>
                  </a:ext>
                </a:extLst>
              </a:tr>
              <a:tr h="7601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lay in revitalisation by contractors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-Sanctions and Penalties for delays by contractors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G" dirty="0"/>
                        <a:t>-intensify meeting with contractotrs and consultant on revitalis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G" dirty="0"/>
                        <a:t>-</a:t>
                      </a:r>
                      <a:r>
                        <a:rPr lang="en-GB" dirty="0"/>
                        <a:t>Continuous supervision by the PIU to the project sites </a:t>
                      </a:r>
                      <a:endParaRPr lang="en-NG" dirty="0"/>
                    </a:p>
                    <a:p>
                      <a:endParaRPr lang="en-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5136999"/>
                  </a:ext>
                </a:extLst>
              </a:tr>
              <a:tr h="749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Crosscutting activities with the National leads to delay in implementation of activities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ncrease coordination between IPS and state &amp; National</a:t>
                      </a:r>
                    </a:p>
                    <a:p>
                      <a:endParaRPr lang="en-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261700"/>
                  </a:ext>
                </a:extLst>
              </a:tr>
              <a:tr h="760168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6068105"/>
                  </a:ext>
                </a:extLst>
              </a:tr>
              <a:tr h="760168">
                <a:tc>
                  <a:txBody>
                    <a:bodyPr/>
                    <a:lstStyle/>
                    <a:p>
                      <a:endParaRPr lang="en-N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4186748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FE537B-3807-3F88-0D4F-AC6750BAFD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799368-7F84-15BE-66A9-2BB93BCD5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06" y="83771"/>
            <a:ext cx="9874322" cy="525829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chemeClr val="accent4">
                    <a:lumMod val="75000"/>
                  </a:schemeClr>
                </a:solidFill>
              </a:rPr>
              <a:t>Challenges and Mitigation</a:t>
            </a:r>
            <a:endParaRPr lang="en-NG" sz="3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4313C85F-3970-4997-F76B-B9B7ABB5A978}"/>
              </a:ext>
            </a:extLst>
          </p:cNvPr>
          <p:cNvSpPr txBox="1">
            <a:spLocks/>
          </p:cNvSpPr>
          <p:nvPr/>
        </p:nvSpPr>
        <p:spPr>
          <a:xfrm>
            <a:off x="1352270" y="617171"/>
            <a:ext cx="9874322" cy="6756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  <a:sym typeface="Candara" panose="020E0502030303020204" pitchFamily="34" charset="0"/>
              </a:defRPr>
            </a:lvl1pPr>
          </a:lstStyle>
          <a:p>
            <a:r>
              <a:rPr lang="en-US" sz="1800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This slide helps us see what barriers you faced and how you addressed or plan to address </a:t>
            </a:r>
            <a:r>
              <a:rPr lang="en-US" sz="1800" dirty="0" err="1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them.For</a:t>
            </a:r>
            <a:r>
              <a:rPr lang="en-US" sz="1800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 each challenge, there should be a practical mitigation strategy - for example, stock-outs mitigated through redistribution, data gaps addressed through DQA, etc.</a:t>
            </a:r>
            <a:endParaRPr lang="en-NG" sz="1800" dirty="0">
              <a:solidFill>
                <a:schemeClr val="accent4">
                  <a:lumMod val="7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656611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98985B-A018-E37C-62A2-BF363EB1A7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8" y="806521"/>
            <a:ext cx="9874321" cy="5244958"/>
          </a:xfrm>
        </p:spPr>
        <p:txBody>
          <a:bodyPr>
            <a:normAutofit/>
          </a:bodyPr>
          <a:lstStyle/>
          <a:p>
            <a:r>
              <a:rPr lang="en-GB" sz="1800" dirty="0"/>
              <a:t>Realtime data tracking: through situation room analysis</a:t>
            </a:r>
          </a:p>
          <a:p>
            <a:r>
              <a:rPr lang="en-GB" sz="1800" dirty="0"/>
              <a:t>H</a:t>
            </a:r>
            <a:r>
              <a:rPr lang="en-NG" sz="1800" dirty="0"/>
              <a:t>ybrid (virtual &amp; Physical) suppervision for the optimization of integrated outreach to PHCCs by state program officers 5-4 PHCs per program officers</a:t>
            </a:r>
          </a:p>
          <a:p>
            <a:r>
              <a:rPr lang="en-GB" sz="1800" dirty="0"/>
              <a:t>Targeted</a:t>
            </a:r>
            <a:r>
              <a:rPr lang="en-NG" sz="1800" dirty="0"/>
              <a:t> coordination meetings: provides indepth discussions and solutions (Meeting with PMOs on referrals)</a:t>
            </a:r>
          </a:p>
          <a:p>
            <a:r>
              <a:rPr lang="en-NG" sz="1800" dirty="0"/>
              <a:t>Incentivising services increase uptake (Mamakits and PostNatal Kits distribution)</a:t>
            </a:r>
          </a:p>
          <a:p>
            <a:r>
              <a:rPr lang="en-NG" sz="1800" dirty="0"/>
              <a:t> Signing MoU with between SPHCDA and WDC: a laverage agints waring WDCs  </a:t>
            </a:r>
          </a:p>
          <a:p>
            <a:r>
              <a:rPr lang="en-US" sz="1800" dirty="0"/>
              <a:t>Secure PHC land: Liaising with the ministry of land and survey and urban planning to provide  C-of-O to all PHCs</a:t>
            </a:r>
          </a:p>
          <a:p>
            <a:r>
              <a:rPr lang="en-GB" sz="1800" dirty="0"/>
              <a:t>Quarterly peer Learning between HFs and PHCAs</a:t>
            </a:r>
            <a:r>
              <a:rPr lang="en-NG" sz="1800" dirty="0"/>
              <a:t> (low performing &amp; high performing)</a:t>
            </a:r>
          </a:p>
          <a:p>
            <a:r>
              <a:rPr lang="en-US" sz="1800" dirty="0"/>
              <a:t>PIUs mostly staff of the agency for institutional memory</a:t>
            </a:r>
          </a:p>
          <a:p>
            <a:endParaRPr lang="en-US" sz="1800" dirty="0"/>
          </a:p>
          <a:p>
            <a:endParaRPr lang="en-NG" sz="1800" dirty="0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488E2A-F552-B501-2DBC-DA98DE2D33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9684AA-307A-7E6E-BAFF-AF4315EDC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7" y="38970"/>
            <a:ext cx="9874322" cy="767551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4">
                    <a:lumMod val="75000"/>
                  </a:schemeClr>
                </a:solidFill>
              </a:rPr>
              <a:t>Key Lessons Learnt</a:t>
            </a:r>
            <a:endParaRPr lang="en-NG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575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B5B93E1-3A4C-1E64-86C8-69D9AFFC2A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End with a summary statement about the overall progress - what your state has achieved and your commitment moving forward.</a:t>
            </a:r>
            <a:endParaRPr lang="en-N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81F9AC-4D41-8013-FB1E-CC68687B82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6D2535-637B-0297-C935-645769622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365126"/>
            <a:ext cx="9874322" cy="70265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4">
                    <a:lumMod val="75000"/>
                  </a:schemeClr>
                </a:solidFill>
              </a:rPr>
              <a:t>Conclusion</a:t>
            </a:r>
            <a:endParaRPr lang="en-NG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5888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43CEA54-3F7A-4EB4-6D7B-7D9E61ADBB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CEA54-3F7A-4EB4-6D7B-7D9E61ADB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EFB666-E028-425D-A846-5F60FBC6F3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  <a:sym typeface="Candara" panose="020E05020303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  <a:sym typeface="Candara" panose="020E0502030303020204" pitchFamily="34" charset="0"/>
            </a:endParaRPr>
          </a:p>
        </p:txBody>
      </p:sp>
      <p:pic>
        <p:nvPicPr>
          <p:cNvPr id="5" name="image1.jpeg"/>
          <p:cNvPicPr>
            <a:picLocks noGrp="1" noChangeAspect="1"/>
          </p:cNvPicPr>
          <p:nvPr>
            <p:ph idx="1"/>
          </p:nvPr>
        </p:nvPicPr>
        <p:blipFill>
          <a:blip r:embed="rId6" cstate="print"/>
          <a:stretch>
            <a:fillRect/>
          </a:stretch>
        </p:blipFill>
        <p:spPr>
          <a:xfrm>
            <a:off x="2507615" y="6177280"/>
            <a:ext cx="701675" cy="616585"/>
          </a:xfrm>
          <a:prstGeom prst="rect">
            <a:avLst/>
          </a:prstGeom>
        </p:spPr>
      </p:pic>
      <p:pic>
        <p:nvPicPr>
          <p:cNvPr id="8" name="Google Shape;564;p23" descr="Image result for thank you">
            <a:extLst>
              <a:ext uri="{FF2B5EF4-FFF2-40B4-BE49-F238E27FC236}">
                <a16:creationId xmlns:a16="http://schemas.microsoft.com/office/drawing/2014/main" id="{C848E8D0-FB9C-1ED2-3B6E-5B49E9B4DAF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857625" y="1826121"/>
            <a:ext cx="6400800" cy="349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1277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34E861F-A954-3D36-206D-A4779C5A6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9" y="1050086"/>
            <a:ext cx="9874321" cy="4225854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tate Context and Objectives</a:t>
            </a:r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Overview of the IMPACT Project</a:t>
            </a:r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Project achievements 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Component 2: Immunization 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Component 3: </a:t>
            </a:r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Knowledge for Change</a:t>
            </a:r>
          </a:p>
          <a:p>
            <a:pPr lvl="1"/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Cross-Cutting Achievements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Challenges and Mitigation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Key Lessons Learnt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  <a:ea typeface="Times New Roman"/>
                <a:cs typeface="Times New Roman"/>
                <a:sym typeface="Times New Roman"/>
              </a:rPr>
              <a:t>Financial Performance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Next Steps (October – December 2025)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Conclusion</a:t>
            </a:r>
            <a:endParaRPr lang="en-NG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FDC507-9FE9-AC11-C660-690ACF368F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BF1A4B-038D-4452-BC87-A541BAB6B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365126"/>
            <a:ext cx="9874322" cy="68496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Outline</a:t>
            </a:r>
            <a:r>
              <a:rPr lang="en-US" dirty="0"/>
              <a:t> </a:t>
            </a:r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251533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0699" y="1310597"/>
            <a:ext cx="5346600" cy="789447"/>
          </a:xfrm>
        </p:spPr>
        <p:txBody>
          <a:bodyPr/>
          <a:lstStyle/>
          <a:p>
            <a:r>
              <a:rPr lang="en-US" sz="3300" dirty="0">
                <a:solidFill>
                  <a:srgbClr val="FF0000"/>
                </a:solidFill>
              </a:rPr>
              <a:t>Nigeria</a:t>
            </a:r>
            <a:br>
              <a:rPr lang="en-US" sz="3300" dirty="0">
                <a:solidFill>
                  <a:srgbClr val="FF0000"/>
                </a:solidFill>
                <a:latin typeface="Calibri" pitchFamily="34" charset="0"/>
              </a:rPr>
            </a:br>
            <a:r>
              <a:rPr lang="en-US" sz="2400" b="0" i="1" dirty="0">
                <a:solidFill>
                  <a:srgbClr val="FF0000"/>
                </a:solidFill>
              </a:rPr>
              <a:t>Adamawa State</a:t>
            </a:r>
            <a:endParaRPr lang="en-US" sz="3300" dirty="0">
              <a:solidFill>
                <a:srgbClr val="FF0000"/>
              </a:solidFill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2103656" y="2587890"/>
            <a:ext cx="1809245" cy="1463772"/>
            <a:chOff x="-9642841" y="1811557"/>
            <a:chExt cx="5833870" cy="4672583"/>
          </a:xfrm>
          <a:solidFill>
            <a:schemeClr val="bg2">
              <a:lumMod val="50000"/>
            </a:schemeClr>
          </a:solidFill>
          <a:effectLst/>
        </p:grpSpPr>
        <p:sp>
          <p:nvSpPr>
            <p:cNvPr id="90" name="Zamfara"/>
            <p:cNvSpPr>
              <a:spLocks/>
            </p:cNvSpPr>
            <p:nvPr/>
          </p:nvSpPr>
          <p:spPr bwMode="auto">
            <a:xfrm>
              <a:off x="-8498057" y="2154322"/>
              <a:ext cx="1073639" cy="1125301"/>
            </a:xfrm>
            <a:custGeom>
              <a:avLst/>
              <a:gdLst>
                <a:gd name="T0" fmla="*/ 519 w 664"/>
                <a:gd name="T1" fmla="*/ 0 h 696"/>
                <a:gd name="T2" fmla="*/ 556 w 664"/>
                <a:gd name="T3" fmla="*/ 43 h 696"/>
                <a:gd name="T4" fmla="*/ 585 w 664"/>
                <a:gd name="T5" fmla="*/ 55 h 696"/>
                <a:gd name="T6" fmla="*/ 607 w 664"/>
                <a:gd name="T7" fmla="*/ 86 h 696"/>
                <a:gd name="T8" fmla="*/ 622 w 664"/>
                <a:gd name="T9" fmla="*/ 243 h 696"/>
                <a:gd name="T10" fmla="*/ 637 w 664"/>
                <a:gd name="T11" fmla="*/ 289 h 696"/>
                <a:gd name="T12" fmla="*/ 639 w 664"/>
                <a:gd name="T13" fmla="*/ 316 h 696"/>
                <a:gd name="T14" fmla="*/ 634 w 664"/>
                <a:gd name="T15" fmla="*/ 349 h 696"/>
                <a:gd name="T16" fmla="*/ 664 w 664"/>
                <a:gd name="T17" fmla="*/ 385 h 696"/>
                <a:gd name="T18" fmla="*/ 640 w 664"/>
                <a:gd name="T19" fmla="*/ 391 h 696"/>
                <a:gd name="T20" fmla="*/ 619 w 664"/>
                <a:gd name="T21" fmla="*/ 418 h 696"/>
                <a:gd name="T22" fmla="*/ 609 w 664"/>
                <a:gd name="T23" fmla="*/ 416 h 696"/>
                <a:gd name="T24" fmla="*/ 567 w 664"/>
                <a:gd name="T25" fmla="*/ 424 h 696"/>
                <a:gd name="T26" fmla="*/ 564 w 664"/>
                <a:gd name="T27" fmla="*/ 506 h 696"/>
                <a:gd name="T28" fmla="*/ 558 w 664"/>
                <a:gd name="T29" fmla="*/ 544 h 696"/>
                <a:gd name="T30" fmla="*/ 526 w 664"/>
                <a:gd name="T31" fmla="*/ 572 h 696"/>
                <a:gd name="T32" fmla="*/ 511 w 664"/>
                <a:gd name="T33" fmla="*/ 616 h 696"/>
                <a:gd name="T34" fmla="*/ 500 w 664"/>
                <a:gd name="T35" fmla="*/ 631 h 696"/>
                <a:gd name="T36" fmla="*/ 466 w 664"/>
                <a:gd name="T37" fmla="*/ 645 h 696"/>
                <a:gd name="T38" fmla="*/ 456 w 664"/>
                <a:gd name="T39" fmla="*/ 645 h 696"/>
                <a:gd name="T40" fmla="*/ 422 w 664"/>
                <a:gd name="T41" fmla="*/ 650 h 696"/>
                <a:gd name="T42" fmla="*/ 390 w 664"/>
                <a:gd name="T43" fmla="*/ 644 h 696"/>
                <a:gd name="T44" fmla="*/ 377 w 664"/>
                <a:gd name="T45" fmla="*/ 665 h 696"/>
                <a:gd name="T46" fmla="*/ 365 w 664"/>
                <a:gd name="T47" fmla="*/ 671 h 696"/>
                <a:gd name="T48" fmla="*/ 362 w 664"/>
                <a:gd name="T49" fmla="*/ 683 h 696"/>
                <a:gd name="T50" fmla="*/ 342 w 664"/>
                <a:gd name="T51" fmla="*/ 696 h 696"/>
                <a:gd name="T52" fmla="*/ 301 w 664"/>
                <a:gd name="T53" fmla="*/ 621 h 696"/>
                <a:gd name="T54" fmla="*/ 264 w 664"/>
                <a:gd name="T55" fmla="*/ 534 h 696"/>
                <a:gd name="T56" fmla="*/ 267 w 664"/>
                <a:gd name="T57" fmla="*/ 482 h 696"/>
                <a:gd name="T58" fmla="*/ 219 w 664"/>
                <a:gd name="T59" fmla="*/ 461 h 696"/>
                <a:gd name="T60" fmla="*/ 164 w 664"/>
                <a:gd name="T61" fmla="*/ 467 h 696"/>
                <a:gd name="T62" fmla="*/ 116 w 664"/>
                <a:gd name="T63" fmla="*/ 445 h 696"/>
                <a:gd name="T64" fmla="*/ 84 w 664"/>
                <a:gd name="T65" fmla="*/ 441 h 696"/>
                <a:gd name="T66" fmla="*/ 65 w 664"/>
                <a:gd name="T67" fmla="*/ 443 h 696"/>
                <a:gd name="T68" fmla="*/ 51 w 664"/>
                <a:gd name="T69" fmla="*/ 454 h 696"/>
                <a:gd name="T70" fmla="*/ 24 w 664"/>
                <a:gd name="T71" fmla="*/ 452 h 696"/>
                <a:gd name="T72" fmla="*/ 2 w 664"/>
                <a:gd name="T73" fmla="*/ 308 h 696"/>
                <a:gd name="T74" fmla="*/ 149 w 664"/>
                <a:gd name="T75" fmla="*/ 276 h 696"/>
                <a:gd name="T76" fmla="*/ 157 w 664"/>
                <a:gd name="T77" fmla="*/ 215 h 696"/>
                <a:gd name="T78" fmla="*/ 188 w 664"/>
                <a:gd name="T79" fmla="*/ 166 h 696"/>
                <a:gd name="T80" fmla="*/ 283 w 664"/>
                <a:gd name="T81" fmla="*/ 130 h 696"/>
                <a:gd name="T82" fmla="*/ 313 w 664"/>
                <a:gd name="T83" fmla="*/ 107 h 696"/>
                <a:gd name="T84" fmla="*/ 331 w 664"/>
                <a:gd name="T85" fmla="*/ 36 h 696"/>
                <a:gd name="T86" fmla="*/ 372 w 664"/>
                <a:gd name="T87" fmla="*/ 35 h 696"/>
                <a:gd name="T88" fmla="*/ 377 w 664"/>
                <a:gd name="T89" fmla="*/ 7 h 696"/>
                <a:gd name="T90" fmla="*/ 401 w 664"/>
                <a:gd name="T91" fmla="*/ 4 h 696"/>
                <a:gd name="T92" fmla="*/ 418 w 664"/>
                <a:gd name="T93" fmla="*/ 13 h 696"/>
                <a:gd name="T94" fmla="*/ 481 w 664"/>
                <a:gd name="T95" fmla="*/ 25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64" h="696">
                  <a:moveTo>
                    <a:pt x="481" y="25"/>
                  </a:moveTo>
                  <a:lnTo>
                    <a:pt x="505" y="12"/>
                  </a:lnTo>
                  <a:lnTo>
                    <a:pt x="519" y="0"/>
                  </a:lnTo>
                  <a:lnTo>
                    <a:pt x="526" y="13"/>
                  </a:lnTo>
                  <a:lnTo>
                    <a:pt x="545" y="34"/>
                  </a:lnTo>
                  <a:lnTo>
                    <a:pt x="556" y="43"/>
                  </a:lnTo>
                  <a:lnTo>
                    <a:pt x="565" y="51"/>
                  </a:lnTo>
                  <a:lnTo>
                    <a:pt x="575" y="54"/>
                  </a:lnTo>
                  <a:lnTo>
                    <a:pt x="585" y="55"/>
                  </a:lnTo>
                  <a:lnTo>
                    <a:pt x="607" y="55"/>
                  </a:lnTo>
                  <a:lnTo>
                    <a:pt x="612" y="54"/>
                  </a:lnTo>
                  <a:lnTo>
                    <a:pt x="607" y="86"/>
                  </a:lnTo>
                  <a:lnTo>
                    <a:pt x="617" y="210"/>
                  </a:lnTo>
                  <a:lnTo>
                    <a:pt x="624" y="225"/>
                  </a:lnTo>
                  <a:lnTo>
                    <a:pt x="622" y="243"/>
                  </a:lnTo>
                  <a:lnTo>
                    <a:pt x="631" y="259"/>
                  </a:lnTo>
                  <a:lnTo>
                    <a:pt x="635" y="274"/>
                  </a:lnTo>
                  <a:lnTo>
                    <a:pt x="637" y="289"/>
                  </a:lnTo>
                  <a:lnTo>
                    <a:pt x="639" y="298"/>
                  </a:lnTo>
                  <a:lnTo>
                    <a:pt x="641" y="307"/>
                  </a:lnTo>
                  <a:lnTo>
                    <a:pt x="639" y="316"/>
                  </a:lnTo>
                  <a:lnTo>
                    <a:pt x="633" y="332"/>
                  </a:lnTo>
                  <a:lnTo>
                    <a:pt x="628" y="342"/>
                  </a:lnTo>
                  <a:lnTo>
                    <a:pt x="634" y="349"/>
                  </a:lnTo>
                  <a:lnTo>
                    <a:pt x="644" y="355"/>
                  </a:lnTo>
                  <a:lnTo>
                    <a:pt x="661" y="367"/>
                  </a:lnTo>
                  <a:lnTo>
                    <a:pt x="664" y="385"/>
                  </a:lnTo>
                  <a:lnTo>
                    <a:pt x="656" y="388"/>
                  </a:lnTo>
                  <a:lnTo>
                    <a:pt x="645" y="386"/>
                  </a:lnTo>
                  <a:lnTo>
                    <a:pt x="640" y="391"/>
                  </a:lnTo>
                  <a:lnTo>
                    <a:pt x="638" y="401"/>
                  </a:lnTo>
                  <a:lnTo>
                    <a:pt x="631" y="408"/>
                  </a:lnTo>
                  <a:lnTo>
                    <a:pt x="619" y="418"/>
                  </a:lnTo>
                  <a:lnTo>
                    <a:pt x="614" y="420"/>
                  </a:lnTo>
                  <a:lnTo>
                    <a:pt x="612" y="419"/>
                  </a:lnTo>
                  <a:lnTo>
                    <a:pt x="609" y="416"/>
                  </a:lnTo>
                  <a:lnTo>
                    <a:pt x="607" y="416"/>
                  </a:lnTo>
                  <a:lnTo>
                    <a:pt x="585" y="416"/>
                  </a:lnTo>
                  <a:lnTo>
                    <a:pt x="567" y="424"/>
                  </a:lnTo>
                  <a:lnTo>
                    <a:pt x="556" y="477"/>
                  </a:lnTo>
                  <a:lnTo>
                    <a:pt x="566" y="496"/>
                  </a:lnTo>
                  <a:lnTo>
                    <a:pt x="564" y="506"/>
                  </a:lnTo>
                  <a:lnTo>
                    <a:pt x="565" y="516"/>
                  </a:lnTo>
                  <a:lnTo>
                    <a:pt x="563" y="531"/>
                  </a:lnTo>
                  <a:lnTo>
                    <a:pt x="558" y="544"/>
                  </a:lnTo>
                  <a:lnTo>
                    <a:pt x="553" y="553"/>
                  </a:lnTo>
                  <a:lnTo>
                    <a:pt x="547" y="559"/>
                  </a:lnTo>
                  <a:lnTo>
                    <a:pt x="526" y="572"/>
                  </a:lnTo>
                  <a:lnTo>
                    <a:pt x="520" y="580"/>
                  </a:lnTo>
                  <a:lnTo>
                    <a:pt x="516" y="588"/>
                  </a:lnTo>
                  <a:lnTo>
                    <a:pt x="511" y="616"/>
                  </a:lnTo>
                  <a:lnTo>
                    <a:pt x="508" y="622"/>
                  </a:lnTo>
                  <a:lnTo>
                    <a:pt x="504" y="627"/>
                  </a:lnTo>
                  <a:lnTo>
                    <a:pt x="500" y="631"/>
                  </a:lnTo>
                  <a:lnTo>
                    <a:pt x="494" y="634"/>
                  </a:lnTo>
                  <a:lnTo>
                    <a:pt x="469" y="644"/>
                  </a:lnTo>
                  <a:lnTo>
                    <a:pt x="466" y="645"/>
                  </a:lnTo>
                  <a:lnTo>
                    <a:pt x="464" y="645"/>
                  </a:lnTo>
                  <a:lnTo>
                    <a:pt x="459" y="645"/>
                  </a:lnTo>
                  <a:lnTo>
                    <a:pt x="456" y="645"/>
                  </a:lnTo>
                  <a:lnTo>
                    <a:pt x="435" y="652"/>
                  </a:lnTo>
                  <a:lnTo>
                    <a:pt x="429" y="652"/>
                  </a:lnTo>
                  <a:lnTo>
                    <a:pt x="422" y="650"/>
                  </a:lnTo>
                  <a:lnTo>
                    <a:pt x="402" y="643"/>
                  </a:lnTo>
                  <a:lnTo>
                    <a:pt x="396" y="642"/>
                  </a:lnTo>
                  <a:lnTo>
                    <a:pt x="390" y="644"/>
                  </a:lnTo>
                  <a:lnTo>
                    <a:pt x="386" y="649"/>
                  </a:lnTo>
                  <a:lnTo>
                    <a:pt x="381" y="660"/>
                  </a:lnTo>
                  <a:lnTo>
                    <a:pt x="377" y="665"/>
                  </a:lnTo>
                  <a:lnTo>
                    <a:pt x="375" y="667"/>
                  </a:lnTo>
                  <a:lnTo>
                    <a:pt x="367" y="669"/>
                  </a:lnTo>
                  <a:lnTo>
                    <a:pt x="365" y="671"/>
                  </a:lnTo>
                  <a:lnTo>
                    <a:pt x="362" y="675"/>
                  </a:lnTo>
                  <a:lnTo>
                    <a:pt x="362" y="679"/>
                  </a:lnTo>
                  <a:lnTo>
                    <a:pt x="362" y="683"/>
                  </a:lnTo>
                  <a:lnTo>
                    <a:pt x="360" y="686"/>
                  </a:lnTo>
                  <a:lnTo>
                    <a:pt x="355" y="691"/>
                  </a:lnTo>
                  <a:lnTo>
                    <a:pt x="342" y="696"/>
                  </a:lnTo>
                  <a:lnTo>
                    <a:pt x="337" y="675"/>
                  </a:lnTo>
                  <a:lnTo>
                    <a:pt x="314" y="637"/>
                  </a:lnTo>
                  <a:lnTo>
                    <a:pt x="301" y="621"/>
                  </a:lnTo>
                  <a:lnTo>
                    <a:pt x="299" y="575"/>
                  </a:lnTo>
                  <a:lnTo>
                    <a:pt x="275" y="539"/>
                  </a:lnTo>
                  <a:lnTo>
                    <a:pt x="264" y="534"/>
                  </a:lnTo>
                  <a:lnTo>
                    <a:pt x="258" y="525"/>
                  </a:lnTo>
                  <a:lnTo>
                    <a:pt x="265" y="502"/>
                  </a:lnTo>
                  <a:lnTo>
                    <a:pt x="267" y="482"/>
                  </a:lnTo>
                  <a:lnTo>
                    <a:pt x="253" y="468"/>
                  </a:lnTo>
                  <a:lnTo>
                    <a:pt x="242" y="464"/>
                  </a:lnTo>
                  <a:lnTo>
                    <a:pt x="219" y="461"/>
                  </a:lnTo>
                  <a:lnTo>
                    <a:pt x="214" y="462"/>
                  </a:lnTo>
                  <a:lnTo>
                    <a:pt x="209" y="465"/>
                  </a:lnTo>
                  <a:lnTo>
                    <a:pt x="164" y="467"/>
                  </a:lnTo>
                  <a:lnTo>
                    <a:pt x="145" y="464"/>
                  </a:lnTo>
                  <a:lnTo>
                    <a:pt x="120" y="453"/>
                  </a:lnTo>
                  <a:lnTo>
                    <a:pt x="116" y="445"/>
                  </a:lnTo>
                  <a:lnTo>
                    <a:pt x="108" y="439"/>
                  </a:lnTo>
                  <a:lnTo>
                    <a:pt x="91" y="441"/>
                  </a:lnTo>
                  <a:lnTo>
                    <a:pt x="84" y="441"/>
                  </a:lnTo>
                  <a:lnTo>
                    <a:pt x="78" y="438"/>
                  </a:lnTo>
                  <a:lnTo>
                    <a:pt x="71" y="438"/>
                  </a:lnTo>
                  <a:lnTo>
                    <a:pt x="65" y="443"/>
                  </a:lnTo>
                  <a:lnTo>
                    <a:pt x="63" y="450"/>
                  </a:lnTo>
                  <a:lnTo>
                    <a:pt x="58" y="453"/>
                  </a:lnTo>
                  <a:lnTo>
                    <a:pt x="51" y="454"/>
                  </a:lnTo>
                  <a:lnTo>
                    <a:pt x="35" y="457"/>
                  </a:lnTo>
                  <a:lnTo>
                    <a:pt x="29" y="456"/>
                  </a:lnTo>
                  <a:lnTo>
                    <a:pt x="24" y="452"/>
                  </a:lnTo>
                  <a:lnTo>
                    <a:pt x="12" y="448"/>
                  </a:lnTo>
                  <a:lnTo>
                    <a:pt x="0" y="450"/>
                  </a:lnTo>
                  <a:lnTo>
                    <a:pt x="2" y="308"/>
                  </a:lnTo>
                  <a:lnTo>
                    <a:pt x="13" y="273"/>
                  </a:lnTo>
                  <a:lnTo>
                    <a:pt x="57" y="280"/>
                  </a:lnTo>
                  <a:lnTo>
                    <a:pt x="149" y="276"/>
                  </a:lnTo>
                  <a:lnTo>
                    <a:pt x="164" y="260"/>
                  </a:lnTo>
                  <a:lnTo>
                    <a:pt x="163" y="237"/>
                  </a:lnTo>
                  <a:lnTo>
                    <a:pt x="157" y="215"/>
                  </a:lnTo>
                  <a:lnTo>
                    <a:pt x="159" y="195"/>
                  </a:lnTo>
                  <a:lnTo>
                    <a:pt x="173" y="186"/>
                  </a:lnTo>
                  <a:lnTo>
                    <a:pt x="188" y="166"/>
                  </a:lnTo>
                  <a:lnTo>
                    <a:pt x="200" y="149"/>
                  </a:lnTo>
                  <a:lnTo>
                    <a:pt x="215" y="136"/>
                  </a:lnTo>
                  <a:lnTo>
                    <a:pt x="283" y="130"/>
                  </a:lnTo>
                  <a:lnTo>
                    <a:pt x="294" y="127"/>
                  </a:lnTo>
                  <a:lnTo>
                    <a:pt x="305" y="122"/>
                  </a:lnTo>
                  <a:lnTo>
                    <a:pt x="313" y="107"/>
                  </a:lnTo>
                  <a:lnTo>
                    <a:pt x="308" y="54"/>
                  </a:lnTo>
                  <a:lnTo>
                    <a:pt x="311" y="46"/>
                  </a:lnTo>
                  <a:lnTo>
                    <a:pt x="331" y="36"/>
                  </a:lnTo>
                  <a:lnTo>
                    <a:pt x="352" y="33"/>
                  </a:lnTo>
                  <a:lnTo>
                    <a:pt x="365" y="37"/>
                  </a:lnTo>
                  <a:lnTo>
                    <a:pt x="372" y="35"/>
                  </a:lnTo>
                  <a:lnTo>
                    <a:pt x="375" y="23"/>
                  </a:lnTo>
                  <a:lnTo>
                    <a:pt x="376" y="15"/>
                  </a:lnTo>
                  <a:lnTo>
                    <a:pt x="377" y="7"/>
                  </a:lnTo>
                  <a:lnTo>
                    <a:pt x="381" y="4"/>
                  </a:lnTo>
                  <a:lnTo>
                    <a:pt x="395" y="4"/>
                  </a:lnTo>
                  <a:lnTo>
                    <a:pt x="401" y="4"/>
                  </a:lnTo>
                  <a:lnTo>
                    <a:pt x="408" y="6"/>
                  </a:lnTo>
                  <a:lnTo>
                    <a:pt x="413" y="8"/>
                  </a:lnTo>
                  <a:lnTo>
                    <a:pt x="418" y="13"/>
                  </a:lnTo>
                  <a:lnTo>
                    <a:pt x="423" y="19"/>
                  </a:lnTo>
                  <a:lnTo>
                    <a:pt x="452" y="25"/>
                  </a:lnTo>
                  <a:lnTo>
                    <a:pt x="481" y="25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1" name="Yobe"/>
            <p:cNvSpPr>
              <a:spLocks/>
            </p:cNvSpPr>
            <p:nvPr/>
          </p:nvSpPr>
          <p:spPr bwMode="auto">
            <a:xfrm>
              <a:off x="-6250529" y="2054080"/>
              <a:ext cx="1379239" cy="1358121"/>
            </a:xfrm>
            <a:custGeom>
              <a:avLst/>
              <a:gdLst>
                <a:gd name="T0" fmla="*/ 0 w 853"/>
                <a:gd name="T1" fmla="*/ 166 h 840"/>
                <a:gd name="T2" fmla="*/ 67 w 853"/>
                <a:gd name="T3" fmla="*/ 93 h 840"/>
                <a:gd name="T4" fmla="*/ 76 w 853"/>
                <a:gd name="T5" fmla="*/ 90 h 840"/>
                <a:gd name="T6" fmla="*/ 79 w 853"/>
                <a:gd name="T7" fmla="*/ 76 h 840"/>
                <a:gd name="T8" fmla="*/ 155 w 853"/>
                <a:gd name="T9" fmla="*/ 34 h 840"/>
                <a:gd name="T10" fmla="*/ 392 w 853"/>
                <a:gd name="T11" fmla="*/ 6 h 840"/>
                <a:gd name="T12" fmla="*/ 663 w 853"/>
                <a:gd name="T13" fmla="*/ 42 h 840"/>
                <a:gd name="T14" fmla="*/ 724 w 853"/>
                <a:gd name="T15" fmla="*/ 80 h 840"/>
                <a:gd name="T16" fmla="*/ 756 w 853"/>
                <a:gd name="T17" fmla="*/ 83 h 840"/>
                <a:gd name="T18" fmla="*/ 783 w 853"/>
                <a:gd name="T19" fmla="*/ 83 h 840"/>
                <a:gd name="T20" fmla="*/ 788 w 853"/>
                <a:gd name="T21" fmla="*/ 88 h 840"/>
                <a:gd name="T22" fmla="*/ 792 w 853"/>
                <a:gd name="T23" fmla="*/ 89 h 840"/>
                <a:gd name="T24" fmla="*/ 798 w 853"/>
                <a:gd name="T25" fmla="*/ 86 h 840"/>
                <a:gd name="T26" fmla="*/ 805 w 853"/>
                <a:gd name="T27" fmla="*/ 91 h 840"/>
                <a:gd name="T28" fmla="*/ 824 w 853"/>
                <a:gd name="T29" fmla="*/ 91 h 840"/>
                <a:gd name="T30" fmla="*/ 822 w 853"/>
                <a:gd name="T31" fmla="*/ 169 h 840"/>
                <a:gd name="T32" fmla="*/ 853 w 853"/>
                <a:gd name="T33" fmla="*/ 214 h 840"/>
                <a:gd name="T34" fmla="*/ 800 w 853"/>
                <a:gd name="T35" fmla="*/ 280 h 840"/>
                <a:gd name="T36" fmla="*/ 799 w 853"/>
                <a:gd name="T37" fmla="*/ 457 h 840"/>
                <a:gd name="T38" fmla="*/ 778 w 853"/>
                <a:gd name="T39" fmla="*/ 517 h 840"/>
                <a:gd name="T40" fmla="*/ 808 w 853"/>
                <a:gd name="T41" fmla="*/ 522 h 840"/>
                <a:gd name="T42" fmla="*/ 824 w 853"/>
                <a:gd name="T43" fmla="*/ 554 h 840"/>
                <a:gd name="T44" fmla="*/ 773 w 853"/>
                <a:gd name="T45" fmla="*/ 621 h 840"/>
                <a:gd name="T46" fmla="*/ 766 w 853"/>
                <a:gd name="T47" fmla="*/ 682 h 840"/>
                <a:gd name="T48" fmla="*/ 668 w 853"/>
                <a:gd name="T49" fmla="*/ 740 h 840"/>
                <a:gd name="T50" fmla="*/ 648 w 853"/>
                <a:gd name="T51" fmla="*/ 808 h 840"/>
                <a:gd name="T52" fmla="*/ 629 w 853"/>
                <a:gd name="T53" fmla="*/ 836 h 840"/>
                <a:gd name="T54" fmla="*/ 585 w 853"/>
                <a:gd name="T55" fmla="*/ 838 h 840"/>
                <a:gd name="T56" fmla="*/ 584 w 853"/>
                <a:gd name="T57" fmla="*/ 738 h 840"/>
                <a:gd name="T58" fmla="*/ 544 w 853"/>
                <a:gd name="T59" fmla="*/ 688 h 840"/>
                <a:gd name="T60" fmla="*/ 494 w 853"/>
                <a:gd name="T61" fmla="*/ 637 h 840"/>
                <a:gd name="T62" fmla="*/ 396 w 853"/>
                <a:gd name="T63" fmla="*/ 626 h 840"/>
                <a:gd name="T64" fmla="*/ 396 w 853"/>
                <a:gd name="T65" fmla="*/ 544 h 840"/>
                <a:gd name="T66" fmla="*/ 351 w 853"/>
                <a:gd name="T67" fmla="*/ 387 h 840"/>
                <a:gd name="T68" fmla="*/ 337 w 853"/>
                <a:gd name="T69" fmla="*/ 353 h 840"/>
                <a:gd name="T70" fmla="*/ 331 w 853"/>
                <a:gd name="T71" fmla="*/ 306 h 840"/>
                <a:gd name="T72" fmla="*/ 289 w 853"/>
                <a:gd name="T73" fmla="*/ 265 h 840"/>
                <a:gd name="T74" fmla="*/ 268 w 853"/>
                <a:gd name="T75" fmla="*/ 183 h 840"/>
                <a:gd name="T76" fmla="*/ 239 w 853"/>
                <a:gd name="T77" fmla="*/ 175 h 840"/>
                <a:gd name="T78" fmla="*/ 198 w 853"/>
                <a:gd name="T79" fmla="*/ 175 h 840"/>
                <a:gd name="T80" fmla="*/ 174 w 853"/>
                <a:gd name="T81" fmla="*/ 135 h 840"/>
                <a:gd name="T82" fmla="*/ 140 w 853"/>
                <a:gd name="T83" fmla="*/ 124 h 840"/>
                <a:gd name="T84" fmla="*/ 77 w 853"/>
                <a:gd name="T85" fmla="*/ 146 h 840"/>
                <a:gd name="T86" fmla="*/ 62 w 853"/>
                <a:gd name="T87" fmla="*/ 167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3" h="840">
                  <a:moveTo>
                    <a:pt x="37" y="177"/>
                  </a:moveTo>
                  <a:lnTo>
                    <a:pt x="8" y="169"/>
                  </a:lnTo>
                  <a:lnTo>
                    <a:pt x="0" y="166"/>
                  </a:lnTo>
                  <a:lnTo>
                    <a:pt x="51" y="106"/>
                  </a:lnTo>
                  <a:lnTo>
                    <a:pt x="61" y="97"/>
                  </a:lnTo>
                  <a:lnTo>
                    <a:pt x="67" y="93"/>
                  </a:lnTo>
                  <a:lnTo>
                    <a:pt x="71" y="92"/>
                  </a:lnTo>
                  <a:lnTo>
                    <a:pt x="72" y="92"/>
                  </a:lnTo>
                  <a:lnTo>
                    <a:pt x="76" y="90"/>
                  </a:lnTo>
                  <a:lnTo>
                    <a:pt x="77" y="87"/>
                  </a:lnTo>
                  <a:lnTo>
                    <a:pt x="78" y="80"/>
                  </a:lnTo>
                  <a:lnTo>
                    <a:pt x="79" y="76"/>
                  </a:lnTo>
                  <a:lnTo>
                    <a:pt x="85" y="71"/>
                  </a:lnTo>
                  <a:lnTo>
                    <a:pt x="141" y="40"/>
                  </a:lnTo>
                  <a:lnTo>
                    <a:pt x="155" y="34"/>
                  </a:lnTo>
                  <a:lnTo>
                    <a:pt x="308" y="2"/>
                  </a:lnTo>
                  <a:lnTo>
                    <a:pt x="337" y="0"/>
                  </a:lnTo>
                  <a:lnTo>
                    <a:pt x="392" y="6"/>
                  </a:lnTo>
                  <a:lnTo>
                    <a:pt x="539" y="5"/>
                  </a:lnTo>
                  <a:lnTo>
                    <a:pt x="630" y="27"/>
                  </a:lnTo>
                  <a:lnTo>
                    <a:pt x="663" y="42"/>
                  </a:lnTo>
                  <a:lnTo>
                    <a:pt x="705" y="66"/>
                  </a:lnTo>
                  <a:lnTo>
                    <a:pt x="718" y="76"/>
                  </a:lnTo>
                  <a:lnTo>
                    <a:pt x="724" y="80"/>
                  </a:lnTo>
                  <a:lnTo>
                    <a:pt x="743" y="84"/>
                  </a:lnTo>
                  <a:lnTo>
                    <a:pt x="752" y="83"/>
                  </a:lnTo>
                  <a:lnTo>
                    <a:pt x="756" y="83"/>
                  </a:lnTo>
                  <a:lnTo>
                    <a:pt x="763" y="78"/>
                  </a:lnTo>
                  <a:lnTo>
                    <a:pt x="767" y="77"/>
                  </a:lnTo>
                  <a:lnTo>
                    <a:pt x="783" y="83"/>
                  </a:lnTo>
                  <a:lnTo>
                    <a:pt x="786" y="85"/>
                  </a:lnTo>
                  <a:lnTo>
                    <a:pt x="788" y="87"/>
                  </a:lnTo>
                  <a:lnTo>
                    <a:pt x="788" y="88"/>
                  </a:lnTo>
                  <a:lnTo>
                    <a:pt x="788" y="89"/>
                  </a:lnTo>
                  <a:lnTo>
                    <a:pt x="790" y="90"/>
                  </a:lnTo>
                  <a:lnTo>
                    <a:pt x="792" y="89"/>
                  </a:lnTo>
                  <a:lnTo>
                    <a:pt x="793" y="87"/>
                  </a:lnTo>
                  <a:lnTo>
                    <a:pt x="795" y="86"/>
                  </a:lnTo>
                  <a:lnTo>
                    <a:pt x="798" y="86"/>
                  </a:lnTo>
                  <a:lnTo>
                    <a:pt x="800" y="87"/>
                  </a:lnTo>
                  <a:lnTo>
                    <a:pt x="803" y="90"/>
                  </a:lnTo>
                  <a:lnTo>
                    <a:pt x="805" y="91"/>
                  </a:lnTo>
                  <a:lnTo>
                    <a:pt x="808" y="90"/>
                  </a:lnTo>
                  <a:lnTo>
                    <a:pt x="812" y="91"/>
                  </a:lnTo>
                  <a:lnTo>
                    <a:pt x="824" y="91"/>
                  </a:lnTo>
                  <a:lnTo>
                    <a:pt x="824" y="92"/>
                  </a:lnTo>
                  <a:lnTo>
                    <a:pt x="816" y="149"/>
                  </a:lnTo>
                  <a:lnTo>
                    <a:pt x="822" y="169"/>
                  </a:lnTo>
                  <a:lnTo>
                    <a:pt x="835" y="183"/>
                  </a:lnTo>
                  <a:lnTo>
                    <a:pt x="851" y="195"/>
                  </a:lnTo>
                  <a:lnTo>
                    <a:pt x="853" y="214"/>
                  </a:lnTo>
                  <a:lnTo>
                    <a:pt x="846" y="232"/>
                  </a:lnTo>
                  <a:lnTo>
                    <a:pt x="833" y="250"/>
                  </a:lnTo>
                  <a:lnTo>
                    <a:pt x="800" y="280"/>
                  </a:lnTo>
                  <a:lnTo>
                    <a:pt x="806" y="325"/>
                  </a:lnTo>
                  <a:lnTo>
                    <a:pt x="792" y="427"/>
                  </a:lnTo>
                  <a:lnTo>
                    <a:pt x="799" y="457"/>
                  </a:lnTo>
                  <a:lnTo>
                    <a:pt x="798" y="470"/>
                  </a:lnTo>
                  <a:lnTo>
                    <a:pt x="780" y="505"/>
                  </a:lnTo>
                  <a:lnTo>
                    <a:pt x="778" y="517"/>
                  </a:lnTo>
                  <a:lnTo>
                    <a:pt x="786" y="519"/>
                  </a:lnTo>
                  <a:lnTo>
                    <a:pt x="796" y="518"/>
                  </a:lnTo>
                  <a:lnTo>
                    <a:pt x="808" y="522"/>
                  </a:lnTo>
                  <a:lnTo>
                    <a:pt x="817" y="531"/>
                  </a:lnTo>
                  <a:lnTo>
                    <a:pt x="823" y="543"/>
                  </a:lnTo>
                  <a:lnTo>
                    <a:pt x="824" y="554"/>
                  </a:lnTo>
                  <a:lnTo>
                    <a:pt x="794" y="591"/>
                  </a:lnTo>
                  <a:lnTo>
                    <a:pt x="782" y="612"/>
                  </a:lnTo>
                  <a:lnTo>
                    <a:pt x="773" y="621"/>
                  </a:lnTo>
                  <a:lnTo>
                    <a:pt x="766" y="631"/>
                  </a:lnTo>
                  <a:lnTo>
                    <a:pt x="765" y="656"/>
                  </a:lnTo>
                  <a:lnTo>
                    <a:pt x="766" y="682"/>
                  </a:lnTo>
                  <a:lnTo>
                    <a:pt x="757" y="702"/>
                  </a:lnTo>
                  <a:lnTo>
                    <a:pt x="739" y="716"/>
                  </a:lnTo>
                  <a:lnTo>
                    <a:pt x="668" y="740"/>
                  </a:lnTo>
                  <a:lnTo>
                    <a:pt x="650" y="759"/>
                  </a:lnTo>
                  <a:lnTo>
                    <a:pt x="646" y="783"/>
                  </a:lnTo>
                  <a:lnTo>
                    <a:pt x="648" y="808"/>
                  </a:lnTo>
                  <a:lnTo>
                    <a:pt x="645" y="819"/>
                  </a:lnTo>
                  <a:lnTo>
                    <a:pt x="638" y="828"/>
                  </a:lnTo>
                  <a:lnTo>
                    <a:pt x="629" y="836"/>
                  </a:lnTo>
                  <a:lnTo>
                    <a:pt x="618" y="839"/>
                  </a:lnTo>
                  <a:lnTo>
                    <a:pt x="605" y="840"/>
                  </a:lnTo>
                  <a:lnTo>
                    <a:pt x="585" y="838"/>
                  </a:lnTo>
                  <a:lnTo>
                    <a:pt x="582" y="828"/>
                  </a:lnTo>
                  <a:lnTo>
                    <a:pt x="580" y="807"/>
                  </a:lnTo>
                  <a:lnTo>
                    <a:pt x="584" y="738"/>
                  </a:lnTo>
                  <a:lnTo>
                    <a:pt x="582" y="728"/>
                  </a:lnTo>
                  <a:lnTo>
                    <a:pt x="576" y="720"/>
                  </a:lnTo>
                  <a:lnTo>
                    <a:pt x="544" y="688"/>
                  </a:lnTo>
                  <a:lnTo>
                    <a:pt x="530" y="669"/>
                  </a:lnTo>
                  <a:lnTo>
                    <a:pt x="513" y="651"/>
                  </a:lnTo>
                  <a:lnTo>
                    <a:pt x="494" y="637"/>
                  </a:lnTo>
                  <a:lnTo>
                    <a:pt x="453" y="617"/>
                  </a:lnTo>
                  <a:lnTo>
                    <a:pt x="411" y="628"/>
                  </a:lnTo>
                  <a:lnTo>
                    <a:pt x="396" y="626"/>
                  </a:lnTo>
                  <a:lnTo>
                    <a:pt x="388" y="615"/>
                  </a:lnTo>
                  <a:lnTo>
                    <a:pt x="398" y="569"/>
                  </a:lnTo>
                  <a:lnTo>
                    <a:pt x="396" y="544"/>
                  </a:lnTo>
                  <a:lnTo>
                    <a:pt x="361" y="455"/>
                  </a:lnTo>
                  <a:lnTo>
                    <a:pt x="351" y="407"/>
                  </a:lnTo>
                  <a:lnTo>
                    <a:pt x="351" y="387"/>
                  </a:lnTo>
                  <a:lnTo>
                    <a:pt x="349" y="374"/>
                  </a:lnTo>
                  <a:lnTo>
                    <a:pt x="343" y="362"/>
                  </a:lnTo>
                  <a:lnTo>
                    <a:pt x="337" y="353"/>
                  </a:lnTo>
                  <a:lnTo>
                    <a:pt x="336" y="342"/>
                  </a:lnTo>
                  <a:lnTo>
                    <a:pt x="335" y="329"/>
                  </a:lnTo>
                  <a:lnTo>
                    <a:pt x="331" y="306"/>
                  </a:lnTo>
                  <a:lnTo>
                    <a:pt x="327" y="295"/>
                  </a:lnTo>
                  <a:lnTo>
                    <a:pt x="309" y="278"/>
                  </a:lnTo>
                  <a:lnTo>
                    <a:pt x="289" y="265"/>
                  </a:lnTo>
                  <a:lnTo>
                    <a:pt x="283" y="244"/>
                  </a:lnTo>
                  <a:lnTo>
                    <a:pt x="278" y="202"/>
                  </a:lnTo>
                  <a:lnTo>
                    <a:pt x="268" y="183"/>
                  </a:lnTo>
                  <a:lnTo>
                    <a:pt x="259" y="177"/>
                  </a:lnTo>
                  <a:lnTo>
                    <a:pt x="249" y="177"/>
                  </a:lnTo>
                  <a:lnTo>
                    <a:pt x="239" y="175"/>
                  </a:lnTo>
                  <a:lnTo>
                    <a:pt x="227" y="170"/>
                  </a:lnTo>
                  <a:lnTo>
                    <a:pt x="218" y="169"/>
                  </a:lnTo>
                  <a:lnTo>
                    <a:pt x="198" y="175"/>
                  </a:lnTo>
                  <a:lnTo>
                    <a:pt x="185" y="173"/>
                  </a:lnTo>
                  <a:lnTo>
                    <a:pt x="181" y="166"/>
                  </a:lnTo>
                  <a:lnTo>
                    <a:pt x="174" y="135"/>
                  </a:lnTo>
                  <a:lnTo>
                    <a:pt x="166" y="124"/>
                  </a:lnTo>
                  <a:lnTo>
                    <a:pt x="154" y="119"/>
                  </a:lnTo>
                  <a:lnTo>
                    <a:pt x="140" y="124"/>
                  </a:lnTo>
                  <a:lnTo>
                    <a:pt x="112" y="134"/>
                  </a:lnTo>
                  <a:lnTo>
                    <a:pt x="97" y="138"/>
                  </a:lnTo>
                  <a:lnTo>
                    <a:pt x="77" y="146"/>
                  </a:lnTo>
                  <a:lnTo>
                    <a:pt x="71" y="150"/>
                  </a:lnTo>
                  <a:lnTo>
                    <a:pt x="68" y="158"/>
                  </a:lnTo>
                  <a:lnTo>
                    <a:pt x="62" y="167"/>
                  </a:lnTo>
                  <a:lnTo>
                    <a:pt x="37" y="177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2" name="Taraba"/>
            <p:cNvSpPr>
              <a:spLocks/>
            </p:cNvSpPr>
            <p:nvPr/>
          </p:nvSpPr>
          <p:spPr bwMode="auto">
            <a:xfrm>
              <a:off x="-6510853" y="3892394"/>
              <a:ext cx="1390557" cy="1540821"/>
            </a:xfrm>
            <a:custGeom>
              <a:avLst/>
              <a:gdLst>
                <a:gd name="T0" fmla="*/ 822 w 860"/>
                <a:gd name="T1" fmla="*/ 663 h 953"/>
                <a:gd name="T2" fmla="*/ 789 w 860"/>
                <a:gd name="T3" fmla="*/ 704 h 953"/>
                <a:gd name="T4" fmla="*/ 817 w 860"/>
                <a:gd name="T5" fmla="*/ 731 h 953"/>
                <a:gd name="T6" fmla="*/ 827 w 860"/>
                <a:gd name="T7" fmla="*/ 759 h 953"/>
                <a:gd name="T8" fmla="*/ 814 w 860"/>
                <a:gd name="T9" fmla="*/ 759 h 953"/>
                <a:gd name="T10" fmla="*/ 793 w 860"/>
                <a:gd name="T11" fmla="*/ 777 h 953"/>
                <a:gd name="T12" fmla="*/ 780 w 860"/>
                <a:gd name="T13" fmla="*/ 784 h 953"/>
                <a:gd name="T14" fmla="*/ 774 w 860"/>
                <a:gd name="T15" fmla="*/ 790 h 953"/>
                <a:gd name="T16" fmla="*/ 731 w 860"/>
                <a:gd name="T17" fmla="*/ 826 h 953"/>
                <a:gd name="T18" fmla="*/ 740 w 860"/>
                <a:gd name="T19" fmla="*/ 852 h 953"/>
                <a:gd name="T20" fmla="*/ 720 w 860"/>
                <a:gd name="T21" fmla="*/ 898 h 953"/>
                <a:gd name="T22" fmla="*/ 689 w 860"/>
                <a:gd name="T23" fmla="*/ 921 h 953"/>
                <a:gd name="T24" fmla="*/ 671 w 860"/>
                <a:gd name="T25" fmla="*/ 949 h 953"/>
                <a:gd name="T26" fmla="*/ 651 w 860"/>
                <a:gd name="T27" fmla="*/ 949 h 953"/>
                <a:gd name="T28" fmla="*/ 641 w 860"/>
                <a:gd name="T29" fmla="*/ 953 h 953"/>
                <a:gd name="T30" fmla="*/ 601 w 860"/>
                <a:gd name="T31" fmla="*/ 952 h 953"/>
                <a:gd name="T32" fmla="*/ 584 w 860"/>
                <a:gd name="T33" fmla="*/ 898 h 953"/>
                <a:gd name="T34" fmla="*/ 568 w 860"/>
                <a:gd name="T35" fmla="*/ 852 h 953"/>
                <a:gd name="T36" fmla="*/ 522 w 860"/>
                <a:gd name="T37" fmla="*/ 810 h 953"/>
                <a:gd name="T38" fmla="*/ 461 w 860"/>
                <a:gd name="T39" fmla="*/ 771 h 953"/>
                <a:gd name="T40" fmla="*/ 441 w 860"/>
                <a:gd name="T41" fmla="*/ 742 h 953"/>
                <a:gd name="T42" fmla="*/ 428 w 860"/>
                <a:gd name="T43" fmla="*/ 797 h 953"/>
                <a:gd name="T44" fmla="*/ 420 w 860"/>
                <a:gd name="T45" fmla="*/ 804 h 953"/>
                <a:gd name="T46" fmla="*/ 338 w 860"/>
                <a:gd name="T47" fmla="*/ 821 h 953"/>
                <a:gd name="T48" fmla="*/ 316 w 860"/>
                <a:gd name="T49" fmla="*/ 785 h 953"/>
                <a:gd name="T50" fmla="*/ 229 w 860"/>
                <a:gd name="T51" fmla="*/ 846 h 953"/>
                <a:gd name="T52" fmla="*/ 203 w 860"/>
                <a:gd name="T53" fmla="*/ 844 h 953"/>
                <a:gd name="T54" fmla="*/ 160 w 860"/>
                <a:gd name="T55" fmla="*/ 926 h 953"/>
                <a:gd name="T56" fmla="*/ 169 w 860"/>
                <a:gd name="T57" fmla="*/ 827 h 953"/>
                <a:gd name="T58" fmla="*/ 215 w 860"/>
                <a:gd name="T59" fmla="*/ 731 h 953"/>
                <a:gd name="T60" fmla="*/ 230 w 860"/>
                <a:gd name="T61" fmla="*/ 613 h 953"/>
                <a:gd name="T62" fmla="*/ 92 w 860"/>
                <a:gd name="T63" fmla="*/ 523 h 953"/>
                <a:gd name="T64" fmla="*/ 4 w 860"/>
                <a:gd name="T65" fmla="*/ 539 h 953"/>
                <a:gd name="T66" fmla="*/ 71 w 860"/>
                <a:gd name="T67" fmla="*/ 470 h 953"/>
                <a:gd name="T68" fmla="*/ 74 w 860"/>
                <a:gd name="T69" fmla="*/ 445 h 953"/>
                <a:gd name="T70" fmla="*/ 62 w 860"/>
                <a:gd name="T71" fmla="*/ 393 h 953"/>
                <a:gd name="T72" fmla="*/ 96 w 860"/>
                <a:gd name="T73" fmla="*/ 392 h 953"/>
                <a:gd name="T74" fmla="*/ 131 w 860"/>
                <a:gd name="T75" fmla="*/ 396 h 953"/>
                <a:gd name="T76" fmla="*/ 191 w 860"/>
                <a:gd name="T77" fmla="*/ 376 h 953"/>
                <a:gd name="T78" fmla="*/ 269 w 860"/>
                <a:gd name="T79" fmla="*/ 322 h 953"/>
                <a:gd name="T80" fmla="*/ 321 w 860"/>
                <a:gd name="T81" fmla="*/ 274 h 953"/>
                <a:gd name="T82" fmla="*/ 463 w 860"/>
                <a:gd name="T83" fmla="*/ 197 h 953"/>
                <a:gd name="T84" fmla="*/ 461 w 860"/>
                <a:gd name="T85" fmla="*/ 149 h 953"/>
                <a:gd name="T86" fmla="*/ 442 w 860"/>
                <a:gd name="T87" fmla="*/ 81 h 953"/>
                <a:gd name="T88" fmla="*/ 451 w 860"/>
                <a:gd name="T89" fmla="*/ 21 h 953"/>
                <a:gd name="T90" fmla="*/ 568 w 860"/>
                <a:gd name="T91" fmla="*/ 5 h 953"/>
                <a:gd name="T92" fmla="*/ 753 w 860"/>
                <a:gd name="T93" fmla="*/ 54 h 953"/>
                <a:gd name="T94" fmla="*/ 798 w 860"/>
                <a:gd name="T95" fmla="*/ 82 h 953"/>
                <a:gd name="T96" fmla="*/ 816 w 860"/>
                <a:gd name="T97" fmla="*/ 132 h 953"/>
                <a:gd name="T98" fmla="*/ 858 w 860"/>
                <a:gd name="T99" fmla="*/ 184 h 953"/>
                <a:gd name="T100" fmla="*/ 829 w 860"/>
                <a:gd name="T101" fmla="*/ 299 h 953"/>
                <a:gd name="T102" fmla="*/ 708 w 860"/>
                <a:gd name="T103" fmla="*/ 435 h 953"/>
                <a:gd name="T104" fmla="*/ 714 w 860"/>
                <a:gd name="T105" fmla="*/ 517 h 953"/>
                <a:gd name="T106" fmla="*/ 747 w 860"/>
                <a:gd name="T107" fmla="*/ 512 h 953"/>
                <a:gd name="T108" fmla="*/ 781 w 860"/>
                <a:gd name="T109" fmla="*/ 512 h 953"/>
                <a:gd name="T110" fmla="*/ 828 w 860"/>
                <a:gd name="T111" fmla="*/ 614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953">
                  <a:moveTo>
                    <a:pt x="835" y="630"/>
                  </a:moveTo>
                  <a:lnTo>
                    <a:pt x="839" y="645"/>
                  </a:lnTo>
                  <a:lnTo>
                    <a:pt x="839" y="646"/>
                  </a:lnTo>
                  <a:lnTo>
                    <a:pt x="822" y="663"/>
                  </a:lnTo>
                  <a:lnTo>
                    <a:pt x="803" y="690"/>
                  </a:lnTo>
                  <a:lnTo>
                    <a:pt x="797" y="696"/>
                  </a:lnTo>
                  <a:lnTo>
                    <a:pt x="791" y="700"/>
                  </a:lnTo>
                  <a:lnTo>
                    <a:pt x="789" y="704"/>
                  </a:lnTo>
                  <a:lnTo>
                    <a:pt x="791" y="705"/>
                  </a:lnTo>
                  <a:lnTo>
                    <a:pt x="797" y="706"/>
                  </a:lnTo>
                  <a:lnTo>
                    <a:pt x="802" y="710"/>
                  </a:lnTo>
                  <a:lnTo>
                    <a:pt x="817" y="731"/>
                  </a:lnTo>
                  <a:lnTo>
                    <a:pt x="829" y="744"/>
                  </a:lnTo>
                  <a:lnTo>
                    <a:pt x="832" y="752"/>
                  </a:lnTo>
                  <a:lnTo>
                    <a:pt x="830" y="759"/>
                  </a:lnTo>
                  <a:lnTo>
                    <a:pt x="827" y="759"/>
                  </a:lnTo>
                  <a:lnTo>
                    <a:pt x="824" y="759"/>
                  </a:lnTo>
                  <a:lnTo>
                    <a:pt x="822" y="758"/>
                  </a:lnTo>
                  <a:lnTo>
                    <a:pt x="818" y="757"/>
                  </a:lnTo>
                  <a:lnTo>
                    <a:pt x="814" y="759"/>
                  </a:lnTo>
                  <a:lnTo>
                    <a:pt x="810" y="761"/>
                  </a:lnTo>
                  <a:lnTo>
                    <a:pt x="798" y="772"/>
                  </a:lnTo>
                  <a:lnTo>
                    <a:pt x="793" y="775"/>
                  </a:lnTo>
                  <a:lnTo>
                    <a:pt x="793" y="777"/>
                  </a:lnTo>
                  <a:lnTo>
                    <a:pt x="790" y="783"/>
                  </a:lnTo>
                  <a:lnTo>
                    <a:pt x="788" y="783"/>
                  </a:lnTo>
                  <a:lnTo>
                    <a:pt x="784" y="783"/>
                  </a:lnTo>
                  <a:lnTo>
                    <a:pt x="780" y="784"/>
                  </a:lnTo>
                  <a:lnTo>
                    <a:pt x="777" y="784"/>
                  </a:lnTo>
                  <a:lnTo>
                    <a:pt x="776" y="784"/>
                  </a:lnTo>
                  <a:lnTo>
                    <a:pt x="775" y="785"/>
                  </a:lnTo>
                  <a:lnTo>
                    <a:pt x="774" y="790"/>
                  </a:lnTo>
                  <a:lnTo>
                    <a:pt x="773" y="792"/>
                  </a:lnTo>
                  <a:lnTo>
                    <a:pt x="755" y="803"/>
                  </a:lnTo>
                  <a:lnTo>
                    <a:pt x="737" y="819"/>
                  </a:lnTo>
                  <a:lnTo>
                    <a:pt x="731" y="826"/>
                  </a:lnTo>
                  <a:lnTo>
                    <a:pt x="730" y="835"/>
                  </a:lnTo>
                  <a:lnTo>
                    <a:pt x="732" y="840"/>
                  </a:lnTo>
                  <a:lnTo>
                    <a:pt x="738" y="847"/>
                  </a:lnTo>
                  <a:lnTo>
                    <a:pt x="740" y="852"/>
                  </a:lnTo>
                  <a:lnTo>
                    <a:pt x="739" y="860"/>
                  </a:lnTo>
                  <a:lnTo>
                    <a:pt x="737" y="868"/>
                  </a:lnTo>
                  <a:lnTo>
                    <a:pt x="727" y="889"/>
                  </a:lnTo>
                  <a:lnTo>
                    <a:pt x="720" y="898"/>
                  </a:lnTo>
                  <a:lnTo>
                    <a:pt x="712" y="903"/>
                  </a:lnTo>
                  <a:lnTo>
                    <a:pt x="701" y="904"/>
                  </a:lnTo>
                  <a:lnTo>
                    <a:pt x="693" y="910"/>
                  </a:lnTo>
                  <a:lnTo>
                    <a:pt x="689" y="921"/>
                  </a:lnTo>
                  <a:lnTo>
                    <a:pt x="687" y="933"/>
                  </a:lnTo>
                  <a:lnTo>
                    <a:pt x="684" y="940"/>
                  </a:lnTo>
                  <a:lnTo>
                    <a:pt x="678" y="945"/>
                  </a:lnTo>
                  <a:lnTo>
                    <a:pt x="671" y="949"/>
                  </a:lnTo>
                  <a:lnTo>
                    <a:pt x="664" y="951"/>
                  </a:lnTo>
                  <a:lnTo>
                    <a:pt x="660" y="951"/>
                  </a:lnTo>
                  <a:lnTo>
                    <a:pt x="654" y="949"/>
                  </a:lnTo>
                  <a:lnTo>
                    <a:pt x="651" y="949"/>
                  </a:lnTo>
                  <a:lnTo>
                    <a:pt x="650" y="949"/>
                  </a:lnTo>
                  <a:lnTo>
                    <a:pt x="646" y="952"/>
                  </a:lnTo>
                  <a:lnTo>
                    <a:pt x="645" y="953"/>
                  </a:lnTo>
                  <a:lnTo>
                    <a:pt x="641" y="953"/>
                  </a:lnTo>
                  <a:lnTo>
                    <a:pt x="638" y="951"/>
                  </a:lnTo>
                  <a:lnTo>
                    <a:pt x="637" y="950"/>
                  </a:lnTo>
                  <a:lnTo>
                    <a:pt x="610" y="953"/>
                  </a:lnTo>
                  <a:lnTo>
                    <a:pt x="601" y="952"/>
                  </a:lnTo>
                  <a:lnTo>
                    <a:pt x="596" y="947"/>
                  </a:lnTo>
                  <a:lnTo>
                    <a:pt x="590" y="933"/>
                  </a:lnTo>
                  <a:lnTo>
                    <a:pt x="586" y="910"/>
                  </a:lnTo>
                  <a:lnTo>
                    <a:pt x="584" y="898"/>
                  </a:lnTo>
                  <a:lnTo>
                    <a:pt x="585" y="887"/>
                  </a:lnTo>
                  <a:lnTo>
                    <a:pt x="584" y="873"/>
                  </a:lnTo>
                  <a:lnTo>
                    <a:pt x="578" y="860"/>
                  </a:lnTo>
                  <a:lnTo>
                    <a:pt x="568" y="852"/>
                  </a:lnTo>
                  <a:lnTo>
                    <a:pt x="540" y="847"/>
                  </a:lnTo>
                  <a:lnTo>
                    <a:pt x="531" y="838"/>
                  </a:lnTo>
                  <a:lnTo>
                    <a:pt x="525" y="824"/>
                  </a:lnTo>
                  <a:lnTo>
                    <a:pt x="522" y="810"/>
                  </a:lnTo>
                  <a:lnTo>
                    <a:pt x="516" y="799"/>
                  </a:lnTo>
                  <a:lnTo>
                    <a:pt x="507" y="792"/>
                  </a:lnTo>
                  <a:lnTo>
                    <a:pt x="482" y="782"/>
                  </a:lnTo>
                  <a:lnTo>
                    <a:pt x="461" y="771"/>
                  </a:lnTo>
                  <a:lnTo>
                    <a:pt x="453" y="769"/>
                  </a:lnTo>
                  <a:lnTo>
                    <a:pt x="448" y="765"/>
                  </a:lnTo>
                  <a:lnTo>
                    <a:pt x="447" y="750"/>
                  </a:lnTo>
                  <a:lnTo>
                    <a:pt x="441" y="742"/>
                  </a:lnTo>
                  <a:lnTo>
                    <a:pt x="437" y="752"/>
                  </a:lnTo>
                  <a:lnTo>
                    <a:pt x="432" y="762"/>
                  </a:lnTo>
                  <a:lnTo>
                    <a:pt x="430" y="773"/>
                  </a:lnTo>
                  <a:lnTo>
                    <a:pt x="428" y="797"/>
                  </a:lnTo>
                  <a:lnTo>
                    <a:pt x="427" y="798"/>
                  </a:lnTo>
                  <a:lnTo>
                    <a:pt x="425" y="798"/>
                  </a:lnTo>
                  <a:lnTo>
                    <a:pt x="423" y="800"/>
                  </a:lnTo>
                  <a:lnTo>
                    <a:pt x="420" y="804"/>
                  </a:lnTo>
                  <a:lnTo>
                    <a:pt x="417" y="808"/>
                  </a:lnTo>
                  <a:lnTo>
                    <a:pt x="416" y="813"/>
                  </a:lnTo>
                  <a:lnTo>
                    <a:pt x="416" y="820"/>
                  </a:lnTo>
                  <a:lnTo>
                    <a:pt x="338" y="821"/>
                  </a:lnTo>
                  <a:lnTo>
                    <a:pt x="330" y="818"/>
                  </a:lnTo>
                  <a:lnTo>
                    <a:pt x="324" y="814"/>
                  </a:lnTo>
                  <a:lnTo>
                    <a:pt x="321" y="808"/>
                  </a:lnTo>
                  <a:lnTo>
                    <a:pt x="316" y="785"/>
                  </a:lnTo>
                  <a:lnTo>
                    <a:pt x="314" y="780"/>
                  </a:lnTo>
                  <a:lnTo>
                    <a:pt x="310" y="779"/>
                  </a:lnTo>
                  <a:lnTo>
                    <a:pt x="302" y="783"/>
                  </a:lnTo>
                  <a:lnTo>
                    <a:pt x="229" y="846"/>
                  </a:lnTo>
                  <a:lnTo>
                    <a:pt x="221" y="849"/>
                  </a:lnTo>
                  <a:lnTo>
                    <a:pt x="216" y="847"/>
                  </a:lnTo>
                  <a:lnTo>
                    <a:pt x="210" y="845"/>
                  </a:lnTo>
                  <a:lnTo>
                    <a:pt x="203" y="844"/>
                  </a:lnTo>
                  <a:lnTo>
                    <a:pt x="197" y="850"/>
                  </a:lnTo>
                  <a:lnTo>
                    <a:pt x="174" y="923"/>
                  </a:lnTo>
                  <a:lnTo>
                    <a:pt x="170" y="926"/>
                  </a:lnTo>
                  <a:lnTo>
                    <a:pt x="160" y="926"/>
                  </a:lnTo>
                  <a:lnTo>
                    <a:pt x="160" y="926"/>
                  </a:lnTo>
                  <a:lnTo>
                    <a:pt x="167" y="897"/>
                  </a:lnTo>
                  <a:lnTo>
                    <a:pt x="170" y="847"/>
                  </a:lnTo>
                  <a:lnTo>
                    <a:pt x="169" y="827"/>
                  </a:lnTo>
                  <a:lnTo>
                    <a:pt x="179" y="775"/>
                  </a:lnTo>
                  <a:lnTo>
                    <a:pt x="189" y="758"/>
                  </a:lnTo>
                  <a:lnTo>
                    <a:pt x="201" y="742"/>
                  </a:lnTo>
                  <a:lnTo>
                    <a:pt x="215" y="731"/>
                  </a:lnTo>
                  <a:lnTo>
                    <a:pt x="230" y="720"/>
                  </a:lnTo>
                  <a:lnTo>
                    <a:pt x="232" y="684"/>
                  </a:lnTo>
                  <a:lnTo>
                    <a:pt x="243" y="648"/>
                  </a:lnTo>
                  <a:lnTo>
                    <a:pt x="230" y="613"/>
                  </a:lnTo>
                  <a:lnTo>
                    <a:pt x="199" y="586"/>
                  </a:lnTo>
                  <a:lnTo>
                    <a:pt x="172" y="552"/>
                  </a:lnTo>
                  <a:lnTo>
                    <a:pt x="137" y="529"/>
                  </a:lnTo>
                  <a:lnTo>
                    <a:pt x="92" y="523"/>
                  </a:lnTo>
                  <a:lnTo>
                    <a:pt x="45" y="525"/>
                  </a:lnTo>
                  <a:lnTo>
                    <a:pt x="34" y="527"/>
                  </a:lnTo>
                  <a:lnTo>
                    <a:pt x="13" y="537"/>
                  </a:lnTo>
                  <a:lnTo>
                    <a:pt x="4" y="539"/>
                  </a:lnTo>
                  <a:lnTo>
                    <a:pt x="0" y="531"/>
                  </a:lnTo>
                  <a:lnTo>
                    <a:pt x="17" y="507"/>
                  </a:lnTo>
                  <a:lnTo>
                    <a:pt x="28" y="499"/>
                  </a:lnTo>
                  <a:lnTo>
                    <a:pt x="71" y="470"/>
                  </a:lnTo>
                  <a:lnTo>
                    <a:pt x="77" y="464"/>
                  </a:lnTo>
                  <a:lnTo>
                    <a:pt x="76" y="456"/>
                  </a:lnTo>
                  <a:lnTo>
                    <a:pt x="74" y="450"/>
                  </a:lnTo>
                  <a:lnTo>
                    <a:pt x="74" y="445"/>
                  </a:lnTo>
                  <a:lnTo>
                    <a:pt x="74" y="430"/>
                  </a:lnTo>
                  <a:lnTo>
                    <a:pt x="58" y="409"/>
                  </a:lnTo>
                  <a:lnTo>
                    <a:pt x="59" y="400"/>
                  </a:lnTo>
                  <a:lnTo>
                    <a:pt x="62" y="393"/>
                  </a:lnTo>
                  <a:lnTo>
                    <a:pt x="67" y="386"/>
                  </a:lnTo>
                  <a:lnTo>
                    <a:pt x="74" y="383"/>
                  </a:lnTo>
                  <a:lnTo>
                    <a:pt x="89" y="388"/>
                  </a:lnTo>
                  <a:lnTo>
                    <a:pt x="96" y="392"/>
                  </a:lnTo>
                  <a:lnTo>
                    <a:pt x="105" y="393"/>
                  </a:lnTo>
                  <a:lnTo>
                    <a:pt x="114" y="396"/>
                  </a:lnTo>
                  <a:lnTo>
                    <a:pt x="122" y="397"/>
                  </a:lnTo>
                  <a:lnTo>
                    <a:pt x="131" y="396"/>
                  </a:lnTo>
                  <a:lnTo>
                    <a:pt x="144" y="389"/>
                  </a:lnTo>
                  <a:lnTo>
                    <a:pt x="152" y="376"/>
                  </a:lnTo>
                  <a:lnTo>
                    <a:pt x="167" y="377"/>
                  </a:lnTo>
                  <a:lnTo>
                    <a:pt x="191" y="376"/>
                  </a:lnTo>
                  <a:lnTo>
                    <a:pt x="212" y="370"/>
                  </a:lnTo>
                  <a:lnTo>
                    <a:pt x="232" y="354"/>
                  </a:lnTo>
                  <a:lnTo>
                    <a:pt x="249" y="337"/>
                  </a:lnTo>
                  <a:lnTo>
                    <a:pt x="269" y="322"/>
                  </a:lnTo>
                  <a:lnTo>
                    <a:pt x="290" y="311"/>
                  </a:lnTo>
                  <a:lnTo>
                    <a:pt x="298" y="304"/>
                  </a:lnTo>
                  <a:lnTo>
                    <a:pt x="314" y="285"/>
                  </a:lnTo>
                  <a:lnTo>
                    <a:pt x="321" y="274"/>
                  </a:lnTo>
                  <a:lnTo>
                    <a:pt x="336" y="257"/>
                  </a:lnTo>
                  <a:lnTo>
                    <a:pt x="406" y="240"/>
                  </a:lnTo>
                  <a:lnTo>
                    <a:pt x="453" y="217"/>
                  </a:lnTo>
                  <a:lnTo>
                    <a:pt x="463" y="197"/>
                  </a:lnTo>
                  <a:lnTo>
                    <a:pt x="463" y="186"/>
                  </a:lnTo>
                  <a:lnTo>
                    <a:pt x="459" y="167"/>
                  </a:lnTo>
                  <a:lnTo>
                    <a:pt x="461" y="159"/>
                  </a:lnTo>
                  <a:lnTo>
                    <a:pt x="461" y="149"/>
                  </a:lnTo>
                  <a:lnTo>
                    <a:pt x="453" y="121"/>
                  </a:lnTo>
                  <a:lnTo>
                    <a:pt x="448" y="112"/>
                  </a:lnTo>
                  <a:lnTo>
                    <a:pt x="445" y="103"/>
                  </a:lnTo>
                  <a:lnTo>
                    <a:pt x="442" y="81"/>
                  </a:lnTo>
                  <a:lnTo>
                    <a:pt x="444" y="62"/>
                  </a:lnTo>
                  <a:lnTo>
                    <a:pt x="442" y="46"/>
                  </a:lnTo>
                  <a:lnTo>
                    <a:pt x="436" y="31"/>
                  </a:lnTo>
                  <a:lnTo>
                    <a:pt x="451" y="21"/>
                  </a:lnTo>
                  <a:lnTo>
                    <a:pt x="490" y="20"/>
                  </a:lnTo>
                  <a:lnTo>
                    <a:pt x="527" y="3"/>
                  </a:lnTo>
                  <a:lnTo>
                    <a:pt x="546" y="0"/>
                  </a:lnTo>
                  <a:lnTo>
                    <a:pt x="568" y="5"/>
                  </a:lnTo>
                  <a:lnTo>
                    <a:pt x="588" y="5"/>
                  </a:lnTo>
                  <a:lnTo>
                    <a:pt x="620" y="7"/>
                  </a:lnTo>
                  <a:lnTo>
                    <a:pt x="725" y="3"/>
                  </a:lnTo>
                  <a:lnTo>
                    <a:pt x="753" y="54"/>
                  </a:lnTo>
                  <a:lnTo>
                    <a:pt x="760" y="61"/>
                  </a:lnTo>
                  <a:lnTo>
                    <a:pt x="771" y="63"/>
                  </a:lnTo>
                  <a:lnTo>
                    <a:pt x="781" y="66"/>
                  </a:lnTo>
                  <a:lnTo>
                    <a:pt x="798" y="82"/>
                  </a:lnTo>
                  <a:lnTo>
                    <a:pt x="808" y="103"/>
                  </a:lnTo>
                  <a:lnTo>
                    <a:pt x="815" y="111"/>
                  </a:lnTo>
                  <a:lnTo>
                    <a:pt x="818" y="122"/>
                  </a:lnTo>
                  <a:lnTo>
                    <a:pt x="816" y="132"/>
                  </a:lnTo>
                  <a:lnTo>
                    <a:pt x="816" y="142"/>
                  </a:lnTo>
                  <a:lnTo>
                    <a:pt x="826" y="160"/>
                  </a:lnTo>
                  <a:lnTo>
                    <a:pt x="845" y="169"/>
                  </a:lnTo>
                  <a:lnTo>
                    <a:pt x="858" y="184"/>
                  </a:lnTo>
                  <a:lnTo>
                    <a:pt x="860" y="206"/>
                  </a:lnTo>
                  <a:lnTo>
                    <a:pt x="830" y="267"/>
                  </a:lnTo>
                  <a:lnTo>
                    <a:pt x="827" y="288"/>
                  </a:lnTo>
                  <a:lnTo>
                    <a:pt x="829" y="299"/>
                  </a:lnTo>
                  <a:lnTo>
                    <a:pt x="826" y="309"/>
                  </a:lnTo>
                  <a:lnTo>
                    <a:pt x="805" y="325"/>
                  </a:lnTo>
                  <a:lnTo>
                    <a:pt x="727" y="418"/>
                  </a:lnTo>
                  <a:lnTo>
                    <a:pt x="708" y="435"/>
                  </a:lnTo>
                  <a:lnTo>
                    <a:pt x="692" y="455"/>
                  </a:lnTo>
                  <a:lnTo>
                    <a:pt x="689" y="464"/>
                  </a:lnTo>
                  <a:lnTo>
                    <a:pt x="702" y="497"/>
                  </a:lnTo>
                  <a:lnTo>
                    <a:pt x="714" y="517"/>
                  </a:lnTo>
                  <a:lnTo>
                    <a:pt x="722" y="526"/>
                  </a:lnTo>
                  <a:lnTo>
                    <a:pt x="733" y="527"/>
                  </a:lnTo>
                  <a:lnTo>
                    <a:pt x="740" y="520"/>
                  </a:lnTo>
                  <a:lnTo>
                    <a:pt x="747" y="512"/>
                  </a:lnTo>
                  <a:lnTo>
                    <a:pt x="752" y="503"/>
                  </a:lnTo>
                  <a:lnTo>
                    <a:pt x="762" y="499"/>
                  </a:lnTo>
                  <a:lnTo>
                    <a:pt x="773" y="503"/>
                  </a:lnTo>
                  <a:lnTo>
                    <a:pt x="781" y="512"/>
                  </a:lnTo>
                  <a:lnTo>
                    <a:pt x="809" y="540"/>
                  </a:lnTo>
                  <a:lnTo>
                    <a:pt x="824" y="574"/>
                  </a:lnTo>
                  <a:lnTo>
                    <a:pt x="824" y="595"/>
                  </a:lnTo>
                  <a:lnTo>
                    <a:pt x="828" y="614"/>
                  </a:lnTo>
                  <a:lnTo>
                    <a:pt x="835" y="630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3" name="Sokoto"/>
            <p:cNvSpPr>
              <a:spLocks/>
            </p:cNvSpPr>
            <p:nvPr/>
          </p:nvSpPr>
          <p:spPr bwMode="auto">
            <a:xfrm>
              <a:off x="-8939477" y="1811557"/>
              <a:ext cx="1280606" cy="1139852"/>
            </a:xfrm>
            <a:custGeom>
              <a:avLst/>
              <a:gdLst>
                <a:gd name="T0" fmla="*/ 0 w 792"/>
                <a:gd name="T1" fmla="*/ 202 h 705"/>
                <a:gd name="T2" fmla="*/ 22 w 792"/>
                <a:gd name="T3" fmla="*/ 122 h 705"/>
                <a:gd name="T4" fmla="*/ 86 w 792"/>
                <a:gd name="T5" fmla="*/ 72 h 705"/>
                <a:gd name="T6" fmla="*/ 212 w 792"/>
                <a:gd name="T7" fmla="*/ 33 h 705"/>
                <a:gd name="T8" fmla="*/ 236 w 792"/>
                <a:gd name="T9" fmla="*/ 41 h 705"/>
                <a:gd name="T10" fmla="*/ 290 w 792"/>
                <a:gd name="T11" fmla="*/ 40 h 705"/>
                <a:gd name="T12" fmla="*/ 348 w 792"/>
                <a:gd name="T13" fmla="*/ 39 h 705"/>
                <a:gd name="T14" fmla="*/ 366 w 792"/>
                <a:gd name="T15" fmla="*/ 16 h 705"/>
                <a:gd name="T16" fmla="*/ 422 w 792"/>
                <a:gd name="T17" fmla="*/ 0 h 705"/>
                <a:gd name="T18" fmla="*/ 605 w 792"/>
                <a:gd name="T19" fmla="*/ 70 h 705"/>
                <a:gd name="T20" fmla="*/ 612 w 792"/>
                <a:gd name="T21" fmla="*/ 71 h 705"/>
                <a:gd name="T22" fmla="*/ 657 w 792"/>
                <a:gd name="T23" fmla="*/ 66 h 705"/>
                <a:gd name="T24" fmla="*/ 769 w 792"/>
                <a:gd name="T25" fmla="*/ 168 h 705"/>
                <a:gd name="T26" fmla="*/ 754 w 792"/>
                <a:gd name="T27" fmla="*/ 237 h 705"/>
                <a:gd name="T28" fmla="*/ 691 w 792"/>
                <a:gd name="T29" fmla="*/ 225 h 705"/>
                <a:gd name="T30" fmla="*/ 674 w 792"/>
                <a:gd name="T31" fmla="*/ 216 h 705"/>
                <a:gd name="T32" fmla="*/ 650 w 792"/>
                <a:gd name="T33" fmla="*/ 219 h 705"/>
                <a:gd name="T34" fmla="*/ 645 w 792"/>
                <a:gd name="T35" fmla="*/ 247 h 705"/>
                <a:gd name="T36" fmla="*/ 604 w 792"/>
                <a:gd name="T37" fmla="*/ 248 h 705"/>
                <a:gd name="T38" fmla="*/ 586 w 792"/>
                <a:gd name="T39" fmla="*/ 319 h 705"/>
                <a:gd name="T40" fmla="*/ 556 w 792"/>
                <a:gd name="T41" fmla="*/ 342 h 705"/>
                <a:gd name="T42" fmla="*/ 461 w 792"/>
                <a:gd name="T43" fmla="*/ 378 h 705"/>
                <a:gd name="T44" fmla="*/ 430 w 792"/>
                <a:gd name="T45" fmla="*/ 427 h 705"/>
                <a:gd name="T46" fmla="*/ 422 w 792"/>
                <a:gd name="T47" fmla="*/ 488 h 705"/>
                <a:gd name="T48" fmla="*/ 275 w 792"/>
                <a:gd name="T49" fmla="*/ 520 h 705"/>
                <a:gd name="T50" fmla="*/ 260 w 792"/>
                <a:gd name="T51" fmla="*/ 666 h 705"/>
                <a:gd name="T52" fmla="*/ 248 w 792"/>
                <a:gd name="T53" fmla="*/ 660 h 705"/>
                <a:gd name="T54" fmla="*/ 234 w 792"/>
                <a:gd name="T55" fmla="*/ 657 h 705"/>
                <a:gd name="T56" fmla="*/ 160 w 792"/>
                <a:gd name="T57" fmla="*/ 697 h 705"/>
                <a:gd name="T58" fmla="*/ 123 w 792"/>
                <a:gd name="T59" fmla="*/ 689 h 705"/>
                <a:gd name="T60" fmla="*/ 150 w 792"/>
                <a:gd name="T61" fmla="*/ 585 h 705"/>
                <a:gd name="T62" fmla="*/ 180 w 792"/>
                <a:gd name="T63" fmla="*/ 446 h 705"/>
                <a:gd name="T64" fmla="*/ 216 w 792"/>
                <a:gd name="T65" fmla="*/ 423 h 705"/>
                <a:gd name="T66" fmla="*/ 210 w 792"/>
                <a:gd name="T67" fmla="*/ 351 h 705"/>
                <a:gd name="T68" fmla="*/ 196 w 792"/>
                <a:gd name="T69" fmla="*/ 294 h 705"/>
                <a:gd name="T70" fmla="*/ 203 w 792"/>
                <a:gd name="T71" fmla="*/ 267 h 705"/>
                <a:gd name="T72" fmla="*/ 205 w 792"/>
                <a:gd name="T73" fmla="*/ 251 h 705"/>
                <a:gd name="T74" fmla="*/ 205 w 792"/>
                <a:gd name="T75" fmla="*/ 226 h 705"/>
                <a:gd name="T76" fmla="*/ 187 w 792"/>
                <a:gd name="T77" fmla="*/ 244 h 705"/>
                <a:gd name="T78" fmla="*/ 156 w 792"/>
                <a:gd name="T79" fmla="*/ 244 h 705"/>
                <a:gd name="T80" fmla="*/ 124 w 792"/>
                <a:gd name="T81" fmla="*/ 231 h 705"/>
                <a:gd name="T82" fmla="*/ 76 w 792"/>
                <a:gd name="T83" fmla="*/ 204 h 705"/>
                <a:gd name="T84" fmla="*/ 45 w 792"/>
                <a:gd name="T85" fmla="*/ 204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92" h="705">
                  <a:moveTo>
                    <a:pt x="26" y="200"/>
                  </a:moveTo>
                  <a:lnTo>
                    <a:pt x="3" y="201"/>
                  </a:lnTo>
                  <a:lnTo>
                    <a:pt x="0" y="202"/>
                  </a:lnTo>
                  <a:lnTo>
                    <a:pt x="1" y="195"/>
                  </a:lnTo>
                  <a:lnTo>
                    <a:pt x="2" y="123"/>
                  </a:lnTo>
                  <a:lnTo>
                    <a:pt x="22" y="122"/>
                  </a:lnTo>
                  <a:lnTo>
                    <a:pt x="31" y="120"/>
                  </a:lnTo>
                  <a:lnTo>
                    <a:pt x="39" y="116"/>
                  </a:lnTo>
                  <a:lnTo>
                    <a:pt x="86" y="72"/>
                  </a:lnTo>
                  <a:lnTo>
                    <a:pt x="101" y="63"/>
                  </a:lnTo>
                  <a:lnTo>
                    <a:pt x="117" y="56"/>
                  </a:lnTo>
                  <a:lnTo>
                    <a:pt x="212" y="33"/>
                  </a:lnTo>
                  <a:lnTo>
                    <a:pt x="222" y="32"/>
                  </a:lnTo>
                  <a:lnTo>
                    <a:pt x="229" y="35"/>
                  </a:lnTo>
                  <a:lnTo>
                    <a:pt x="236" y="41"/>
                  </a:lnTo>
                  <a:lnTo>
                    <a:pt x="242" y="44"/>
                  </a:lnTo>
                  <a:lnTo>
                    <a:pt x="261" y="45"/>
                  </a:lnTo>
                  <a:lnTo>
                    <a:pt x="290" y="40"/>
                  </a:lnTo>
                  <a:lnTo>
                    <a:pt x="333" y="42"/>
                  </a:lnTo>
                  <a:lnTo>
                    <a:pt x="344" y="40"/>
                  </a:lnTo>
                  <a:lnTo>
                    <a:pt x="348" y="39"/>
                  </a:lnTo>
                  <a:lnTo>
                    <a:pt x="357" y="32"/>
                  </a:lnTo>
                  <a:lnTo>
                    <a:pt x="361" y="28"/>
                  </a:lnTo>
                  <a:lnTo>
                    <a:pt x="366" y="16"/>
                  </a:lnTo>
                  <a:lnTo>
                    <a:pt x="369" y="11"/>
                  </a:lnTo>
                  <a:lnTo>
                    <a:pt x="377" y="7"/>
                  </a:lnTo>
                  <a:lnTo>
                    <a:pt x="422" y="0"/>
                  </a:lnTo>
                  <a:lnTo>
                    <a:pt x="432" y="2"/>
                  </a:lnTo>
                  <a:lnTo>
                    <a:pt x="602" y="69"/>
                  </a:lnTo>
                  <a:lnTo>
                    <a:pt x="605" y="70"/>
                  </a:lnTo>
                  <a:lnTo>
                    <a:pt x="607" y="71"/>
                  </a:lnTo>
                  <a:lnTo>
                    <a:pt x="609" y="73"/>
                  </a:lnTo>
                  <a:lnTo>
                    <a:pt x="612" y="71"/>
                  </a:lnTo>
                  <a:lnTo>
                    <a:pt x="629" y="62"/>
                  </a:lnTo>
                  <a:lnTo>
                    <a:pt x="636" y="60"/>
                  </a:lnTo>
                  <a:lnTo>
                    <a:pt x="657" y="66"/>
                  </a:lnTo>
                  <a:lnTo>
                    <a:pt x="677" y="77"/>
                  </a:lnTo>
                  <a:lnTo>
                    <a:pt x="720" y="116"/>
                  </a:lnTo>
                  <a:lnTo>
                    <a:pt x="769" y="168"/>
                  </a:lnTo>
                  <a:lnTo>
                    <a:pt x="792" y="212"/>
                  </a:lnTo>
                  <a:lnTo>
                    <a:pt x="778" y="224"/>
                  </a:lnTo>
                  <a:lnTo>
                    <a:pt x="754" y="237"/>
                  </a:lnTo>
                  <a:lnTo>
                    <a:pt x="725" y="237"/>
                  </a:lnTo>
                  <a:lnTo>
                    <a:pt x="696" y="231"/>
                  </a:lnTo>
                  <a:lnTo>
                    <a:pt x="691" y="225"/>
                  </a:lnTo>
                  <a:lnTo>
                    <a:pt x="686" y="220"/>
                  </a:lnTo>
                  <a:lnTo>
                    <a:pt x="681" y="218"/>
                  </a:lnTo>
                  <a:lnTo>
                    <a:pt x="674" y="216"/>
                  </a:lnTo>
                  <a:lnTo>
                    <a:pt x="668" y="216"/>
                  </a:lnTo>
                  <a:lnTo>
                    <a:pt x="654" y="216"/>
                  </a:lnTo>
                  <a:lnTo>
                    <a:pt x="650" y="219"/>
                  </a:lnTo>
                  <a:lnTo>
                    <a:pt x="649" y="227"/>
                  </a:lnTo>
                  <a:lnTo>
                    <a:pt x="648" y="235"/>
                  </a:lnTo>
                  <a:lnTo>
                    <a:pt x="645" y="247"/>
                  </a:lnTo>
                  <a:lnTo>
                    <a:pt x="638" y="249"/>
                  </a:lnTo>
                  <a:lnTo>
                    <a:pt x="625" y="245"/>
                  </a:lnTo>
                  <a:lnTo>
                    <a:pt x="604" y="248"/>
                  </a:lnTo>
                  <a:lnTo>
                    <a:pt x="584" y="258"/>
                  </a:lnTo>
                  <a:lnTo>
                    <a:pt x="581" y="266"/>
                  </a:lnTo>
                  <a:lnTo>
                    <a:pt x="586" y="319"/>
                  </a:lnTo>
                  <a:lnTo>
                    <a:pt x="578" y="334"/>
                  </a:lnTo>
                  <a:lnTo>
                    <a:pt x="567" y="339"/>
                  </a:lnTo>
                  <a:lnTo>
                    <a:pt x="556" y="342"/>
                  </a:lnTo>
                  <a:lnTo>
                    <a:pt x="488" y="348"/>
                  </a:lnTo>
                  <a:lnTo>
                    <a:pt x="473" y="361"/>
                  </a:lnTo>
                  <a:lnTo>
                    <a:pt x="461" y="378"/>
                  </a:lnTo>
                  <a:lnTo>
                    <a:pt x="446" y="398"/>
                  </a:lnTo>
                  <a:lnTo>
                    <a:pt x="432" y="407"/>
                  </a:lnTo>
                  <a:lnTo>
                    <a:pt x="430" y="427"/>
                  </a:lnTo>
                  <a:lnTo>
                    <a:pt x="436" y="449"/>
                  </a:lnTo>
                  <a:lnTo>
                    <a:pt x="437" y="472"/>
                  </a:lnTo>
                  <a:lnTo>
                    <a:pt x="422" y="488"/>
                  </a:lnTo>
                  <a:lnTo>
                    <a:pt x="330" y="492"/>
                  </a:lnTo>
                  <a:lnTo>
                    <a:pt x="286" y="485"/>
                  </a:lnTo>
                  <a:lnTo>
                    <a:pt x="275" y="520"/>
                  </a:lnTo>
                  <a:lnTo>
                    <a:pt x="273" y="662"/>
                  </a:lnTo>
                  <a:lnTo>
                    <a:pt x="267" y="665"/>
                  </a:lnTo>
                  <a:lnTo>
                    <a:pt x="260" y="666"/>
                  </a:lnTo>
                  <a:lnTo>
                    <a:pt x="257" y="661"/>
                  </a:lnTo>
                  <a:lnTo>
                    <a:pt x="252" y="659"/>
                  </a:lnTo>
                  <a:lnTo>
                    <a:pt x="248" y="660"/>
                  </a:lnTo>
                  <a:lnTo>
                    <a:pt x="245" y="661"/>
                  </a:lnTo>
                  <a:lnTo>
                    <a:pt x="240" y="658"/>
                  </a:lnTo>
                  <a:lnTo>
                    <a:pt x="234" y="657"/>
                  </a:lnTo>
                  <a:lnTo>
                    <a:pt x="228" y="659"/>
                  </a:lnTo>
                  <a:lnTo>
                    <a:pt x="170" y="683"/>
                  </a:lnTo>
                  <a:lnTo>
                    <a:pt x="160" y="697"/>
                  </a:lnTo>
                  <a:lnTo>
                    <a:pt x="147" y="705"/>
                  </a:lnTo>
                  <a:lnTo>
                    <a:pt x="134" y="700"/>
                  </a:lnTo>
                  <a:lnTo>
                    <a:pt x="123" y="689"/>
                  </a:lnTo>
                  <a:lnTo>
                    <a:pt x="126" y="661"/>
                  </a:lnTo>
                  <a:lnTo>
                    <a:pt x="140" y="632"/>
                  </a:lnTo>
                  <a:lnTo>
                    <a:pt x="150" y="585"/>
                  </a:lnTo>
                  <a:lnTo>
                    <a:pt x="148" y="470"/>
                  </a:lnTo>
                  <a:lnTo>
                    <a:pt x="158" y="451"/>
                  </a:lnTo>
                  <a:lnTo>
                    <a:pt x="180" y="446"/>
                  </a:lnTo>
                  <a:lnTo>
                    <a:pt x="201" y="452"/>
                  </a:lnTo>
                  <a:lnTo>
                    <a:pt x="213" y="446"/>
                  </a:lnTo>
                  <a:lnTo>
                    <a:pt x="216" y="423"/>
                  </a:lnTo>
                  <a:lnTo>
                    <a:pt x="206" y="374"/>
                  </a:lnTo>
                  <a:lnTo>
                    <a:pt x="207" y="364"/>
                  </a:lnTo>
                  <a:lnTo>
                    <a:pt x="210" y="351"/>
                  </a:lnTo>
                  <a:lnTo>
                    <a:pt x="213" y="330"/>
                  </a:lnTo>
                  <a:lnTo>
                    <a:pt x="206" y="311"/>
                  </a:lnTo>
                  <a:lnTo>
                    <a:pt x="196" y="294"/>
                  </a:lnTo>
                  <a:lnTo>
                    <a:pt x="198" y="283"/>
                  </a:lnTo>
                  <a:lnTo>
                    <a:pt x="201" y="272"/>
                  </a:lnTo>
                  <a:lnTo>
                    <a:pt x="203" y="267"/>
                  </a:lnTo>
                  <a:lnTo>
                    <a:pt x="204" y="262"/>
                  </a:lnTo>
                  <a:lnTo>
                    <a:pt x="204" y="257"/>
                  </a:lnTo>
                  <a:lnTo>
                    <a:pt x="205" y="251"/>
                  </a:lnTo>
                  <a:lnTo>
                    <a:pt x="209" y="242"/>
                  </a:lnTo>
                  <a:lnTo>
                    <a:pt x="210" y="233"/>
                  </a:lnTo>
                  <a:lnTo>
                    <a:pt x="205" y="226"/>
                  </a:lnTo>
                  <a:lnTo>
                    <a:pt x="197" y="228"/>
                  </a:lnTo>
                  <a:lnTo>
                    <a:pt x="192" y="237"/>
                  </a:lnTo>
                  <a:lnTo>
                    <a:pt x="187" y="244"/>
                  </a:lnTo>
                  <a:lnTo>
                    <a:pt x="179" y="249"/>
                  </a:lnTo>
                  <a:lnTo>
                    <a:pt x="166" y="249"/>
                  </a:lnTo>
                  <a:lnTo>
                    <a:pt x="156" y="244"/>
                  </a:lnTo>
                  <a:lnTo>
                    <a:pt x="146" y="237"/>
                  </a:lnTo>
                  <a:lnTo>
                    <a:pt x="136" y="233"/>
                  </a:lnTo>
                  <a:lnTo>
                    <a:pt x="124" y="231"/>
                  </a:lnTo>
                  <a:lnTo>
                    <a:pt x="104" y="222"/>
                  </a:lnTo>
                  <a:lnTo>
                    <a:pt x="85" y="212"/>
                  </a:lnTo>
                  <a:lnTo>
                    <a:pt x="76" y="204"/>
                  </a:lnTo>
                  <a:lnTo>
                    <a:pt x="67" y="196"/>
                  </a:lnTo>
                  <a:lnTo>
                    <a:pt x="56" y="199"/>
                  </a:lnTo>
                  <a:lnTo>
                    <a:pt x="45" y="204"/>
                  </a:lnTo>
                  <a:lnTo>
                    <a:pt x="26" y="200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4" name="Rivers"/>
            <p:cNvSpPr>
              <a:spLocks/>
            </p:cNvSpPr>
            <p:nvPr/>
          </p:nvSpPr>
          <p:spPr bwMode="auto">
            <a:xfrm>
              <a:off x="-7836733" y="5779211"/>
              <a:ext cx="559457" cy="670977"/>
            </a:xfrm>
            <a:custGeom>
              <a:avLst/>
              <a:gdLst>
                <a:gd name="T0" fmla="*/ 341 w 346"/>
                <a:gd name="T1" fmla="*/ 313 h 415"/>
                <a:gd name="T2" fmla="*/ 344 w 346"/>
                <a:gd name="T3" fmla="*/ 334 h 415"/>
                <a:gd name="T4" fmla="*/ 328 w 346"/>
                <a:gd name="T5" fmla="*/ 348 h 415"/>
                <a:gd name="T6" fmla="*/ 297 w 346"/>
                <a:gd name="T7" fmla="*/ 344 h 415"/>
                <a:gd name="T8" fmla="*/ 269 w 346"/>
                <a:gd name="T9" fmla="*/ 337 h 415"/>
                <a:gd name="T10" fmla="*/ 266 w 346"/>
                <a:gd name="T11" fmla="*/ 346 h 415"/>
                <a:gd name="T12" fmla="*/ 284 w 346"/>
                <a:gd name="T13" fmla="*/ 361 h 415"/>
                <a:gd name="T14" fmla="*/ 239 w 346"/>
                <a:gd name="T15" fmla="*/ 327 h 415"/>
                <a:gd name="T16" fmla="*/ 225 w 346"/>
                <a:gd name="T17" fmla="*/ 318 h 415"/>
                <a:gd name="T18" fmla="*/ 206 w 346"/>
                <a:gd name="T19" fmla="*/ 293 h 415"/>
                <a:gd name="T20" fmla="*/ 207 w 346"/>
                <a:gd name="T21" fmla="*/ 302 h 415"/>
                <a:gd name="T22" fmla="*/ 236 w 346"/>
                <a:gd name="T23" fmla="*/ 336 h 415"/>
                <a:gd name="T24" fmla="*/ 238 w 346"/>
                <a:gd name="T25" fmla="*/ 366 h 415"/>
                <a:gd name="T26" fmla="*/ 209 w 346"/>
                <a:gd name="T27" fmla="*/ 376 h 415"/>
                <a:gd name="T28" fmla="*/ 209 w 346"/>
                <a:gd name="T29" fmla="*/ 384 h 415"/>
                <a:gd name="T30" fmla="*/ 187 w 346"/>
                <a:gd name="T31" fmla="*/ 348 h 415"/>
                <a:gd name="T32" fmla="*/ 191 w 346"/>
                <a:gd name="T33" fmla="*/ 322 h 415"/>
                <a:gd name="T34" fmla="*/ 189 w 346"/>
                <a:gd name="T35" fmla="*/ 311 h 415"/>
                <a:gd name="T36" fmla="*/ 174 w 346"/>
                <a:gd name="T37" fmla="*/ 298 h 415"/>
                <a:gd name="T38" fmla="*/ 179 w 346"/>
                <a:gd name="T39" fmla="*/ 335 h 415"/>
                <a:gd name="T40" fmla="*/ 164 w 346"/>
                <a:gd name="T41" fmla="*/ 321 h 415"/>
                <a:gd name="T42" fmla="*/ 165 w 346"/>
                <a:gd name="T43" fmla="*/ 334 h 415"/>
                <a:gd name="T44" fmla="*/ 167 w 346"/>
                <a:gd name="T45" fmla="*/ 340 h 415"/>
                <a:gd name="T46" fmla="*/ 188 w 346"/>
                <a:gd name="T47" fmla="*/ 393 h 415"/>
                <a:gd name="T48" fmla="*/ 180 w 346"/>
                <a:gd name="T49" fmla="*/ 403 h 415"/>
                <a:gd name="T50" fmla="*/ 155 w 346"/>
                <a:gd name="T51" fmla="*/ 398 h 415"/>
                <a:gd name="T52" fmla="*/ 140 w 346"/>
                <a:gd name="T53" fmla="*/ 379 h 415"/>
                <a:gd name="T54" fmla="*/ 134 w 346"/>
                <a:gd name="T55" fmla="*/ 344 h 415"/>
                <a:gd name="T56" fmla="*/ 126 w 346"/>
                <a:gd name="T57" fmla="*/ 322 h 415"/>
                <a:gd name="T58" fmla="*/ 122 w 346"/>
                <a:gd name="T59" fmla="*/ 274 h 415"/>
                <a:gd name="T60" fmla="*/ 109 w 346"/>
                <a:gd name="T61" fmla="*/ 266 h 415"/>
                <a:gd name="T62" fmla="*/ 101 w 346"/>
                <a:gd name="T63" fmla="*/ 277 h 415"/>
                <a:gd name="T64" fmla="*/ 115 w 346"/>
                <a:gd name="T65" fmla="*/ 313 h 415"/>
                <a:gd name="T66" fmla="*/ 126 w 346"/>
                <a:gd name="T67" fmla="*/ 342 h 415"/>
                <a:gd name="T68" fmla="*/ 136 w 346"/>
                <a:gd name="T69" fmla="*/ 399 h 415"/>
                <a:gd name="T70" fmla="*/ 106 w 346"/>
                <a:gd name="T71" fmla="*/ 414 h 415"/>
                <a:gd name="T72" fmla="*/ 101 w 346"/>
                <a:gd name="T73" fmla="*/ 384 h 415"/>
                <a:gd name="T74" fmla="*/ 105 w 346"/>
                <a:gd name="T75" fmla="*/ 344 h 415"/>
                <a:gd name="T76" fmla="*/ 74 w 346"/>
                <a:gd name="T77" fmla="*/ 314 h 415"/>
                <a:gd name="T78" fmla="*/ 18 w 346"/>
                <a:gd name="T79" fmla="*/ 286 h 415"/>
                <a:gd name="T80" fmla="*/ 4 w 346"/>
                <a:gd name="T81" fmla="*/ 250 h 415"/>
                <a:gd name="T82" fmla="*/ 15 w 346"/>
                <a:gd name="T83" fmla="*/ 218 h 415"/>
                <a:gd name="T84" fmla="*/ 18 w 346"/>
                <a:gd name="T85" fmla="*/ 188 h 415"/>
                <a:gd name="T86" fmla="*/ 46 w 346"/>
                <a:gd name="T87" fmla="*/ 144 h 415"/>
                <a:gd name="T88" fmla="*/ 66 w 346"/>
                <a:gd name="T89" fmla="*/ 121 h 415"/>
                <a:gd name="T90" fmla="*/ 68 w 346"/>
                <a:gd name="T91" fmla="*/ 111 h 415"/>
                <a:gd name="T92" fmla="*/ 31 w 346"/>
                <a:gd name="T93" fmla="*/ 80 h 415"/>
                <a:gd name="T94" fmla="*/ 50 w 346"/>
                <a:gd name="T95" fmla="*/ 62 h 415"/>
                <a:gd name="T96" fmla="*/ 85 w 346"/>
                <a:gd name="T97" fmla="*/ 8 h 415"/>
                <a:gd name="T98" fmla="*/ 108 w 346"/>
                <a:gd name="T99" fmla="*/ 84 h 415"/>
                <a:gd name="T100" fmla="*/ 114 w 346"/>
                <a:gd name="T101" fmla="*/ 137 h 415"/>
                <a:gd name="T102" fmla="*/ 261 w 346"/>
                <a:gd name="T103" fmla="*/ 158 h 415"/>
                <a:gd name="T104" fmla="*/ 275 w 346"/>
                <a:gd name="T105" fmla="*/ 254 h 415"/>
                <a:gd name="T106" fmla="*/ 343 w 346"/>
                <a:gd name="T107" fmla="*/ 287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6" h="415">
                  <a:moveTo>
                    <a:pt x="343" y="287"/>
                  </a:moveTo>
                  <a:lnTo>
                    <a:pt x="346" y="299"/>
                  </a:lnTo>
                  <a:lnTo>
                    <a:pt x="345" y="306"/>
                  </a:lnTo>
                  <a:lnTo>
                    <a:pt x="344" y="307"/>
                  </a:lnTo>
                  <a:lnTo>
                    <a:pt x="341" y="310"/>
                  </a:lnTo>
                  <a:lnTo>
                    <a:pt x="341" y="313"/>
                  </a:lnTo>
                  <a:lnTo>
                    <a:pt x="341" y="317"/>
                  </a:lnTo>
                  <a:lnTo>
                    <a:pt x="342" y="320"/>
                  </a:lnTo>
                  <a:lnTo>
                    <a:pt x="342" y="323"/>
                  </a:lnTo>
                  <a:lnTo>
                    <a:pt x="340" y="327"/>
                  </a:lnTo>
                  <a:lnTo>
                    <a:pt x="340" y="329"/>
                  </a:lnTo>
                  <a:lnTo>
                    <a:pt x="344" y="334"/>
                  </a:lnTo>
                  <a:lnTo>
                    <a:pt x="345" y="337"/>
                  </a:lnTo>
                  <a:lnTo>
                    <a:pt x="344" y="338"/>
                  </a:lnTo>
                  <a:lnTo>
                    <a:pt x="339" y="343"/>
                  </a:lnTo>
                  <a:lnTo>
                    <a:pt x="336" y="345"/>
                  </a:lnTo>
                  <a:lnTo>
                    <a:pt x="333" y="347"/>
                  </a:lnTo>
                  <a:lnTo>
                    <a:pt x="328" y="348"/>
                  </a:lnTo>
                  <a:lnTo>
                    <a:pt x="326" y="345"/>
                  </a:lnTo>
                  <a:lnTo>
                    <a:pt x="324" y="345"/>
                  </a:lnTo>
                  <a:lnTo>
                    <a:pt x="321" y="351"/>
                  </a:lnTo>
                  <a:lnTo>
                    <a:pt x="315" y="350"/>
                  </a:lnTo>
                  <a:lnTo>
                    <a:pt x="304" y="345"/>
                  </a:lnTo>
                  <a:lnTo>
                    <a:pt x="297" y="344"/>
                  </a:lnTo>
                  <a:lnTo>
                    <a:pt x="290" y="343"/>
                  </a:lnTo>
                  <a:lnTo>
                    <a:pt x="282" y="340"/>
                  </a:lnTo>
                  <a:lnTo>
                    <a:pt x="278" y="335"/>
                  </a:lnTo>
                  <a:lnTo>
                    <a:pt x="277" y="336"/>
                  </a:lnTo>
                  <a:lnTo>
                    <a:pt x="275" y="337"/>
                  </a:lnTo>
                  <a:lnTo>
                    <a:pt x="269" y="337"/>
                  </a:lnTo>
                  <a:lnTo>
                    <a:pt x="268" y="338"/>
                  </a:lnTo>
                  <a:lnTo>
                    <a:pt x="268" y="340"/>
                  </a:lnTo>
                  <a:lnTo>
                    <a:pt x="267" y="342"/>
                  </a:lnTo>
                  <a:lnTo>
                    <a:pt x="264" y="343"/>
                  </a:lnTo>
                  <a:lnTo>
                    <a:pt x="264" y="345"/>
                  </a:lnTo>
                  <a:lnTo>
                    <a:pt x="266" y="346"/>
                  </a:lnTo>
                  <a:lnTo>
                    <a:pt x="266" y="349"/>
                  </a:lnTo>
                  <a:lnTo>
                    <a:pt x="270" y="350"/>
                  </a:lnTo>
                  <a:lnTo>
                    <a:pt x="275" y="354"/>
                  </a:lnTo>
                  <a:lnTo>
                    <a:pt x="283" y="356"/>
                  </a:lnTo>
                  <a:lnTo>
                    <a:pt x="285" y="358"/>
                  </a:lnTo>
                  <a:lnTo>
                    <a:pt x="284" y="361"/>
                  </a:lnTo>
                  <a:lnTo>
                    <a:pt x="282" y="363"/>
                  </a:lnTo>
                  <a:lnTo>
                    <a:pt x="269" y="365"/>
                  </a:lnTo>
                  <a:lnTo>
                    <a:pt x="268" y="364"/>
                  </a:lnTo>
                  <a:lnTo>
                    <a:pt x="261" y="354"/>
                  </a:lnTo>
                  <a:lnTo>
                    <a:pt x="242" y="334"/>
                  </a:lnTo>
                  <a:lnTo>
                    <a:pt x="239" y="327"/>
                  </a:lnTo>
                  <a:lnTo>
                    <a:pt x="239" y="319"/>
                  </a:lnTo>
                  <a:lnTo>
                    <a:pt x="238" y="316"/>
                  </a:lnTo>
                  <a:lnTo>
                    <a:pt x="236" y="316"/>
                  </a:lnTo>
                  <a:lnTo>
                    <a:pt x="232" y="318"/>
                  </a:lnTo>
                  <a:lnTo>
                    <a:pt x="226" y="318"/>
                  </a:lnTo>
                  <a:lnTo>
                    <a:pt x="225" y="318"/>
                  </a:lnTo>
                  <a:lnTo>
                    <a:pt x="222" y="315"/>
                  </a:lnTo>
                  <a:lnTo>
                    <a:pt x="217" y="311"/>
                  </a:lnTo>
                  <a:lnTo>
                    <a:pt x="215" y="308"/>
                  </a:lnTo>
                  <a:lnTo>
                    <a:pt x="210" y="294"/>
                  </a:lnTo>
                  <a:lnTo>
                    <a:pt x="207" y="289"/>
                  </a:lnTo>
                  <a:lnTo>
                    <a:pt x="206" y="293"/>
                  </a:lnTo>
                  <a:lnTo>
                    <a:pt x="205" y="295"/>
                  </a:lnTo>
                  <a:lnTo>
                    <a:pt x="202" y="297"/>
                  </a:lnTo>
                  <a:lnTo>
                    <a:pt x="201" y="298"/>
                  </a:lnTo>
                  <a:lnTo>
                    <a:pt x="203" y="301"/>
                  </a:lnTo>
                  <a:lnTo>
                    <a:pt x="205" y="301"/>
                  </a:lnTo>
                  <a:lnTo>
                    <a:pt x="207" y="302"/>
                  </a:lnTo>
                  <a:lnTo>
                    <a:pt x="209" y="304"/>
                  </a:lnTo>
                  <a:lnTo>
                    <a:pt x="212" y="314"/>
                  </a:lnTo>
                  <a:lnTo>
                    <a:pt x="214" y="318"/>
                  </a:lnTo>
                  <a:lnTo>
                    <a:pt x="220" y="320"/>
                  </a:lnTo>
                  <a:lnTo>
                    <a:pt x="229" y="325"/>
                  </a:lnTo>
                  <a:lnTo>
                    <a:pt x="236" y="336"/>
                  </a:lnTo>
                  <a:lnTo>
                    <a:pt x="236" y="345"/>
                  </a:lnTo>
                  <a:lnTo>
                    <a:pt x="229" y="349"/>
                  </a:lnTo>
                  <a:lnTo>
                    <a:pt x="233" y="352"/>
                  </a:lnTo>
                  <a:lnTo>
                    <a:pt x="237" y="356"/>
                  </a:lnTo>
                  <a:lnTo>
                    <a:pt x="240" y="361"/>
                  </a:lnTo>
                  <a:lnTo>
                    <a:pt x="238" y="366"/>
                  </a:lnTo>
                  <a:lnTo>
                    <a:pt x="230" y="376"/>
                  </a:lnTo>
                  <a:lnTo>
                    <a:pt x="225" y="379"/>
                  </a:lnTo>
                  <a:lnTo>
                    <a:pt x="219" y="376"/>
                  </a:lnTo>
                  <a:lnTo>
                    <a:pt x="219" y="381"/>
                  </a:lnTo>
                  <a:lnTo>
                    <a:pt x="213" y="379"/>
                  </a:lnTo>
                  <a:lnTo>
                    <a:pt x="209" y="376"/>
                  </a:lnTo>
                  <a:lnTo>
                    <a:pt x="208" y="371"/>
                  </a:lnTo>
                  <a:lnTo>
                    <a:pt x="209" y="365"/>
                  </a:lnTo>
                  <a:lnTo>
                    <a:pt x="205" y="369"/>
                  </a:lnTo>
                  <a:lnTo>
                    <a:pt x="203" y="374"/>
                  </a:lnTo>
                  <a:lnTo>
                    <a:pt x="206" y="380"/>
                  </a:lnTo>
                  <a:lnTo>
                    <a:pt x="209" y="384"/>
                  </a:lnTo>
                  <a:lnTo>
                    <a:pt x="200" y="386"/>
                  </a:lnTo>
                  <a:lnTo>
                    <a:pt x="197" y="386"/>
                  </a:lnTo>
                  <a:lnTo>
                    <a:pt x="194" y="379"/>
                  </a:lnTo>
                  <a:lnTo>
                    <a:pt x="192" y="371"/>
                  </a:lnTo>
                  <a:lnTo>
                    <a:pt x="191" y="356"/>
                  </a:lnTo>
                  <a:lnTo>
                    <a:pt x="187" y="348"/>
                  </a:lnTo>
                  <a:lnTo>
                    <a:pt x="185" y="343"/>
                  </a:lnTo>
                  <a:lnTo>
                    <a:pt x="189" y="341"/>
                  </a:lnTo>
                  <a:lnTo>
                    <a:pt x="190" y="338"/>
                  </a:lnTo>
                  <a:lnTo>
                    <a:pt x="191" y="332"/>
                  </a:lnTo>
                  <a:lnTo>
                    <a:pt x="192" y="326"/>
                  </a:lnTo>
                  <a:lnTo>
                    <a:pt x="191" y="322"/>
                  </a:lnTo>
                  <a:lnTo>
                    <a:pt x="193" y="323"/>
                  </a:lnTo>
                  <a:lnTo>
                    <a:pt x="196" y="323"/>
                  </a:lnTo>
                  <a:lnTo>
                    <a:pt x="197" y="324"/>
                  </a:lnTo>
                  <a:lnTo>
                    <a:pt x="196" y="321"/>
                  </a:lnTo>
                  <a:lnTo>
                    <a:pt x="190" y="314"/>
                  </a:lnTo>
                  <a:lnTo>
                    <a:pt x="189" y="311"/>
                  </a:lnTo>
                  <a:lnTo>
                    <a:pt x="187" y="304"/>
                  </a:lnTo>
                  <a:lnTo>
                    <a:pt x="186" y="302"/>
                  </a:lnTo>
                  <a:lnTo>
                    <a:pt x="180" y="309"/>
                  </a:lnTo>
                  <a:lnTo>
                    <a:pt x="178" y="309"/>
                  </a:lnTo>
                  <a:lnTo>
                    <a:pt x="177" y="304"/>
                  </a:lnTo>
                  <a:lnTo>
                    <a:pt x="174" y="298"/>
                  </a:lnTo>
                  <a:lnTo>
                    <a:pt x="172" y="302"/>
                  </a:lnTo>
                  <a:lnTo>
                    <a:pt x="173" y="309"/>
                  </a:lnTo>
                  <a:lnTo>
                    <a:pt x="172" y="312"/>
                  </a:lnTo>
                  <a:lnTo>
                    <a:pt x="175" y="317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75" y="334"/>
                  </a:lnTo>
                  <a:lnTo>
                    <a:pt x="174" y="330"/>
                  </a:lnTo>
                  <a:lnTo>
                    <a:pt x="173" y="331"/>
                  </a:lnTo>
                  <a:lnTo>
                    <a:pt x="170" y="332"/>
                  </a:lnTo>
                  <a:lnTo>
                    <a:pt x="167" y="326"/>
                  </a:lnTo>
                  <a:lnTo>
                    <a:pt x="164" y="321"/>
                  </a:lnTo>
                  <a:lnTo>
                    <a:pt x="154" y="312"/>
                  </a:lnTo>
                  <a:lnTo>
                    <a:pt x="155" y="317"/>
                  </a:lnTo>
                  <a:lnTo>
                    <a:pt x="156" y="321"/>
                  </a:lnTo>
                  <a:lnTo>
                    <a:pt x="161" y="328"/>
                  </a:lnTo>
                  <a:lnTo>
                    <a:pt x="164" y="331"/>
                  </a:lnTo>
                  <a:lnTo>
                    <a:pt x="165" y="334"/>
                  </a:lnTo>
                  <a:lnTo>
                    <a:pt x="166" y="336"/>
                  </a:lnTo>
                  <a:lnTo>
                    <a:pt x="165" y="338"/>
                  </a:lnTo>
                  <a:lnTo>
                    <a:pt x="163" y="340"/>
                  </a:lnTo>
                  <a:lnTo>
                    <a:pt x="160" y="342"/>
                  </a:lnTo>
                  <a:lnTo>
                    <a:pt x="164" y="345"/>
                  </a:lnTo>
                  <a:lnTo>
                    <a:pt x="167" y="340"/>
                  </a:lnTo>
                  <a:lnTo>
                    <a:pt x="172" y="339"/>
                  </a:lnTo>
                  <a:lnTo>
                    <a:pt x="177" y="340"/>
                  </a:lnTo>
                  <a:lnTo>
                    <a:pt x="180" y="344"/>
                  </a:lnTo>
                  <a:lnTo>
                    <a:pt x="177" y="364"/>
                  </a:lnTo>
                  <a:lnTo>
                    <a:pt x="177" y="371"/>
                  </a:lnTo>
                  <a:lnTo>
                    <a:pt x="188" y="393"/>
                  </a:lnTo>
                  <a:lnTo>
                    <a:pt x="192" y="397"/>
                  </a:lnTo>
                  <a:lnTo>
                    <a:pt x="191" y="400"/>
                  </a:lnTo>
                  <a:lnTo>
                    <a:pt x="189" y="403"/>
                  </a:lnTo>
                  <a:lnTo>
                    <a:pt x="187" y="405"/>
                  </a:lnTo>
                  <a:lnTo>
                    <a:pt x="183" y="404"/>
                  </a:lnTo>
                  <a:lnTo>
                    <a:pt x="180" y="403"/>
                  </a:lnTo>
                  <a:lnTo>
                    <a:pt x="174" y="401"/>
                  </a:lnTo>
                  <a:lnTo>
                    <a:pt x="175" y="403"/>
                  </a:lnTo>
                  <a:lnTo>
                    <a:pt x="176" y="405"/>
                  </a:lnTo>
                  <a:lnTo>
                    <a:pt x="169" y="403"/>
                  </a:lnTo>
                  <a:lnTo>
                    <a:pt x="163" y="399"/>
                  </a:lnTo>
                  <a:lnTo>
                    <a:pt x="155" y="398"/>
                  </a:lnTo>
                  <a:lnTo>
                    <a:pt x="148" y="401"/>
                  </a:lnTo>
                  <a:lnTo>
                    <a:pt x="145" y="397"/>
                  </a:lnTo>
                  <a:lnTo>
                    <a:pt x="143" y="392"/>
                  </a:lnTo>
                  <a:lnTo>
                    <a:pt x="142" y="387"/>
                  </a:lnTo>
                  <a:lnTo>
                    <a:pt x="144" y="382"/>
                  </a:lnTo>
                  <a:lnTo>
                    <a:pt x="140" y="379"/>
                  </a:lnTo>
                  <a:lnTo>
                    <a:pt x="135" y="371"/>
                  </a:lnTo>
                  <a:lnTo>
                    <a:pt x="132" y="362"/>
                  </a:lnTo>
                  <a:lnTo>
                    <a:pt x="130" y="354"/>
                  </a:lnTo>
                  <a:lnTo>
                    <a:pt x="131" y="349"/>
                  </a:lnTo>
                  <a:lnTo>
                    <a:pt x="132" y="346"/>
                  </a:lnTo>
                  <a:lnTo>
                    <a:pt x="134" y="344"/>
                  </a:lnTo>
                  <a:lnTo>
                    <a:pt x="137" y="341"/>
                  </a:lnTo>
                  <a:lnTo>
                    <a:pt x="138" y="338"/>
                  </a:lnTo>
                  <a:lnTo>
                    <a:pt x="139" y="332"/>
                  </a:lnTo>
                  <a:lnTo>
                    <a:pt x="138" y="328"/>
                  </a:lnTo>
                  <a:lnTo>
                    <a:pt x="134" y="326"/>
                  </a:lnTo>
                  <a:lnTo>
                    <a:pt x="126" y="322"/>
                  </a:lnTo>
                  <a:lnTo>
                    <a:pt x="121" y="312"/>
                  </a:lnTo>
                  <a:lnTo>
                    <a:pt x="115" y="294"/>
                  </a:lnTo>
                  <a:lnTo>
                    <a:pt x="114" y="286"/>
                  </a:lnTo>
                  <a:lnTo>
                    <a:pt x="115" y="282"/>
                  </a:lnTo>
                  <a:lnTo>
                    <a:pt x="119" y="278"/>
                  </a:lnTo>
                  <a:lnTo>
                    <a:pt x="122" y="274"/>
                  </a:lnTo>
                  <a:lnTo>
                    <a:pt x="121" y="272"/>
                  </a:lnTo>
                  <a:lnTo>
                    <a:pt x="117" y="271"/>
                  </a:lnTo>
                  <a:lnTo>
                    <a:pt x="113" y="275"/>
                  </a:lnTo>
                  <a:lnTo>
                    <a:pt x="111" y="271"/>
                  </a:lnTo>
                  <a:lnTo>
                    <a:pt x="110" y="269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4" y="268"/>
                  </a:lnTo>
                  <a:lnTo>
                    <a:pt x="102" y="268"/>
                  </a:lnTo>
                  <a:lnTo>
                    <a:pt x="99" y="266"/>
                  </a:lnTo>
                  <a:lnTo>
                    <a:pt x="101" y="272"/>
                  </a:lnTo>
                  <a:lnTo>
                    <a:pt x="101" y="277"/>
                  </a:lnTo>
                  <a:lnTo>
                    <a:pt x="103" y="281"/>
                  </a:lnTo>
                  <a:lnTo>
                    <a:pt x="106" y="283"/>
                  </a:lnTo>
                  <a:lnTo>
                    <a:pt x="109" y="285"/>
                  </a:lnTo>
                  <a:lnTo>
                    <a:pt x="111" y="290"/>
                  </a:lnTo>
                  <a:lnTo>
                    <a:pt x="113" y="302"/>
                  </a:lnTo>
                  <a:lnTo>
                    <a:pt x="115" y="313"/>
                  </a:lnTo>
                  <a:lnTo>
                    <a:pt x="116" y="318"/>
                  </a:lnTo>
                  <a:lnTo>
                    <a:pt x="119" y="320"/>
                  </a:lnTo>
                  <a:lnTo>
                    <a:pt x="123" y="322"/>
                  </a:lnTo>
                  <a:lnTo>
                    <a:pt x="127" y="327"/>
                  </a:lnTo>
                  <a:lnTo>
                    <a:pt x="132" y="337"/>
                  </a:lnTo>
                  <a:lnTo>
                    <a:pt x="126" y="342"/>
                  </a:lnTo>
                  <a:lnTo>
                    <a:pt x="124" y="345"/>
                  </a:lnTo>
                  <a:lnTo>
                    <a:pt x="124" y="349"/>
                  </a:lnTo>
                  <a:lnTo>
                    <a:pt x="130" y="379"/>
                  </a:lnTo>
                  <a:lnTo>
                    <a:pt x="133" y="388"/>
                  </a:lnTo>
                  <a:lnTo>
                    <a:pt x="137" y="392"/>
                  </a:lnTo>
                  <a:lnTo>
                    <a:pt x="136" y="399"/>
                  </a:lnTo>
                  <a:lnTo>
                    <a:pt x="142" y="404"/>
                  </a:lnTo>
                  <a:lnTo>
                    <a:pt x="146" y="409"/>
                  </a:lnTo>
                  <a:lnTo>
                    <a:pt x="138" y="413"/>
                  </a:lnTo>
                  <a:lnTo>
                    <a:pt x="129" y="414"/>
                  </a:lnTo>
                  <a:lnTo>
                    <a:pt x="117" y="415"/>
                  </a:lnTo>
                  <a:lnTo>
                    <a:pt x="106" y="414"/>
                  </a:lnTo>
                  <a:lnTo>
                    <a:pt x="99" y="410"/>
                  </a:lnTo>
                  <a:lnTo>
                    <a:pt x="98" y="406"/>
                  </a:lnTo>
                  <a:lnTo>
                    <a:pt x="99" y="389"/>
                  </a:lnTo>
                  <a:lnTo>
                    <a:pt x="101" y="387"/>
                  </a:lnTo>
                  <a:lnTo>
                    <a:pt x="101" y="385"/>
                  </a:lnTo>
                  <a:lnTo>
                    <a:pt x="101" y="384"/>
                  </a:lnTo>
                  <a:lnTo>
                    <a:pt x="98" y="381"/>
                  </a:lnTo>
                  <a:lnTo>
                    <a:pt x="97" y="380"/>
                  </a:lnTo>
                  <a:lnTo>
                    <a:pt x="97" y="369"/>
                  </a:lnTo>
                  <a:lnTo>
                    <a:pt x="98" y="364"/>
                  </a:lnTo>
                  <a:lnTo>
                    <a:pt x="105" y="347"/>
                  </a:lnTo>
                  <a:lnTo>
                    <a:pt x="105" y="344"/>
                  </a:lnTo>
                  <a:lnTo>
                    <a:pt x="105" y="335"/>
                  </a:lnTo>
                  <a:lnTo>
                    <a:pt x="101" y="340"/>
                  </a:lnTo>
                  <a:lnTo>
                    <a:pt x="98" y="335"/>
                  </a:lnTo>
                  <a:lnTo>
                    <a:pt x="89" y="330"/>
                  </a:lnTo>
                  <a:lnTo>
                    <a:pt x="80" y="323"/>
                  </a:lnTo>
                  <a:lnTo>
                    <a:pt x="74" y="314"/>
                  </a:lnTo>
                  <a:lnTo>
                    <a:pt x="72" y="303"/>
                  </a:lnTo>
                  <a:lnTo>
                    <a:pt x="54" y="292"/>
                  </a:lnTo>
                  <a:lnTo>
                    <a:pt x="29" y="301"/>
                  </a:lnTo>
                  <a:lnTo>
                    <a:pt x="20" y="302"/>
                  </a:lnTo>
                  <a:lnTo>
                    <a:pt x="17" y="293"/>
                  </a:lnTo>
                  <a:lnTo>
                    <a:pt x="18" y="286"/>
                  </a:lnTo>
                  <a:lnTo>
                    <a:pt x="15" y="283"/>
                  </a:lnTo>
                  <a:lnTo>
                    <a:pt x="11" y="282"/>
                  </a:lnTo>
                  <a:lnTo>
                    <a:pt x="7" y="280"/>
                  </a:lnTo>
                  <a:lnTo>
                    <a:pt x="0" y="272"/>
                  </a:lnTo>
                  <a:lnTo>
                    <a:pt x="1" y="260"/>
                  </a:lnTo>
                  <a:lnTo>
                    <a:pt x="4" y="250"/>
                  </a:lnTo>
                  <a:lnTo>
                    <a:pt x="10" y="240"/>
                  </a:lnTo>
                  <a:lnTo>
                    <a:pt x="11" y="235"/>
                  </a:lnTo>
                  <a:lnTo>
                    <a:pt x="13" y="229"/>
                  </a:lnTo>
                  <a:lnTo>
                    <a:pt x="19" y="223"/>
                  </a:lnTo>
                  <a:lnTo>
                    <a:pt x="16" y="221"/>
                  </a:lnTo>
                  <a:lnTo>
                    <a:pt x="15" y="218"/>
                  </a:lnTo>
                  <a:lnTo>
                    <a:pt x="13" y="215"/>
                  </a:lnTo>
                  <a:lnTo>
                    <a:pt x="13" y="211"/>
                  </a:lnTo>
                  <a:lnTo>
                    <a:pt x="13" y="204"/>
                  </a:lnTo>
                  <a:lnTo>
                    <a:pt x="14" y="197"/>
                  </a:lnTo>
                  <a:lnTo>
                    <a:pt x="16" y="191"/>
                  </a:lnTo>
                  <a:lnTo>
                    <a:pt x="18" y="188"/>
                  </a:lnTo>
                  <a:lnTo>
                    <a:pt x="23" y="186"/>
                  </a:lnTo>
                  <a:lnTo>
                    <a:pt x="25" y="179"/>
                  </a:lnTo>
                  <a:lnTo>
                    <a:pt x="27" y="166"/>
                  </a:lnTo>
                  <a:lnTo>
                    <a:pt x="31" y="155"/>
                  </a:lnTo>
                  <a:lnTo>
                    <a:pt x="38" y="149"/>
                  </a:lnTo>
                  <a:lnTo>
                    <a:pt x="46" y="144"/>
                  </a:lnTo>
                  <a:lnTo>
                    <a:pt x="55" y="132"/>
                  </a:lnTo>
                  <a:lnTo>
                    <a:pt x="57" y="129"/>
                  </a:lnTo>
                  <a:lnTo>
                    <a:pt x="58" y="126"/>
                  </a:lnTo>
                  <a:lnTo>
                    <a:pt x="59" y="124"/>
                  </a:lnTo>
                  <a:lnTo>
                    <a:pt x="65" y="122"/>
                  </a:lnTo>
                  <a:lnTo>
                    <a:pt x="66" y="121"/>
                  </a:lnTo>
                  <a:lnTo>
                    <a:pt x="66" y="120"/>
                  </a:lnTo>
                  <a:lnTo>
                    <a:pt x="69" y="117"/>
                  </a:lnTo>
                  <a:lnTo>
                    <a:pt x="70" y="116"/>
                  </a:lnTo>
                  <a:lnTo>
                    <a:pt x="70" y="114"/>
                  </a:lnTo>
                  <a:lnTo>
                    <a:pt x="70" y="112"/>
                  </a:lnTo>
                  <a:lnTo>
                    <a:pt x="68" y="111"/>
                  </a:lnTo>
                  <a:lnTo>
                    <a:pt x="60" y="101"/>
                  </a:lnTo>
                  <a:lnTo>
                    <a:pt x="32" y="98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8" y="84"/>
                  </a:lnTo>
                  <a:lnTo>
                    <a:pt x="31" y="80"/>
                  </a:lnTo>
                  <a:lnTo>
                    <a:pt x="33" y="78"/>
                  </a:lnTo>
                  <a:lnTo>
                    <a:pt x="39" y="76"/>
                  </a:lnTo>
                  <a:lnTo>
                    <a:pt x="41" y="75"/>
                  </a:lnTo>
                  <a:lnTo>
                    <a:pt x="46" y="69"/>
                  </a:lnTo>
                  <a:lnTo>
                    <a:pt x="49" y="66"/>
                  </a:lnTo>
                  <a:lnTo>
                    <a:pt x="50" y="62"/>
                  </a:lnTo>
                  <a:lnTo>
                    <a:pt x="52" y="54"/>
                  </a:lnTo>
                  <a:lnTo>
                    <a:pt x="52" y="48"/>
                  </a:lnTo>
                  <a:lnTo>
                    <a:pt x="58" y="34"/>
                  </a:lnTo>
                  <a:lnTo>
                    <a:pt x="66" y="0"/>
                  </a:lnTo>
                  <a:lnTo>
                    <a:pt x="75" y="7"/>
                  </a:lnTo>
                  <a:lnTo>
                    <a:pt x="85" y="8"/>
                  </a:lnTo>
                  <a:lnTo>
                    <a:pt x="82" y="18"/>
                  </a:lnTo>
                  <a:lnTo>
                    <a:pt x="72" y="65"/>
                  </a:lnTo>
                  <a:lnTo>
                    <a:pt x="74" y="72"/>
                  </a:lnTo>
                  <a:lnTo>
                    <a:pt x="85" y="73"/>
                  </a:lnTo>
                  <a:lnTo>
                    <a:pt x="96" y="70"/>
                  </a:lnTo>
                  <a:lnTo>
                    <a:pt x="108" y="84"/>
                  </a:lnTo>
                  <a:lnTo>
                    <a:pt x="106" y="105"/>
                  </a:lnTo>
                  <a:lnTo>
                    <a:pt x="101" y="114"/>
                  </a:lnTo>
                  <a:lnTo>
                    <a:pt x="102" y="125"/>
                  </a:lnTo>
                  <a:lnTo>
                    <a:pt x="105" y="129"/>
                  </a:lnTo>
                  <a:lnTo>
                    <a:pt x="111" y="134"/>
                  </a:lnTo>
                  <a:lnTo>
                    <a:pt x="114" y="137"/>
                  </a:lnTo>
                  <a:lnTo>
                    <a:pt x="146" y="158"/>
                  </a:lnTo>
                  <a:lnTo>
                    <a:pt x="188" y="161"/>
                  </a:lnTo>
                  <a:lnTo>
                    <a:pt x="226" y="157"/>
                  </a:lnTo>
                  <a:lnTo>
                    <a:pt x="242" y="161"/>
                  </a:lnTo>
                  <a:lnTo>
                    <a:pt x="252" y="160"/>
                  </a:lnTo>
                  <a:lnTo>
                    <a:pt x="261" y="158"/>
                  </a:lnTo>
                  <a:lnTo>
                    <a:pt x="266" y="170"/>
                  </a:lnTo>
                  <a:lnTo>
                    <a:pt x="265" y="184"/>
                  </a:lnTo>
                  <a:lnTo>
                    <a:pt x="234" y="231"/>
                  </a:lnTo>
                  <a:lnTo>
                    <a:pt x="238" y="255"/>
                  </a:lnTo>
                  <a:lnTo>
                    <a:pt x="251" y="259"/>
                  </a:lnTo>
                  <a:lnTo>
                    <a:pt x="275" y="254"/>
                  </a:lnTo>
                  <a:lnTo>
                    <a:pt x="286" y="254"/>
                  </a:lnTo>
                  <a:lnTo>
                    <a:pt x="298" y="258"/>
                  </a:lnTo>
                  <a:lnTo>
                    <a:pt x="314" y="258"/>
                  </a:lnTo>
                  <a:lnTo>
                    <a:pt x="334" y="272"/>
                  </a:lnTo>
                  <a:lnTo>
                    <a:pt x="338" y="279"/>
                  </a:lnTo>
                  <a:lnTo>
                    <a:pt x="343" y="287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5" name="Plateau"/>
            <p:cNvSpPr>
              <a:spLocks/>
            </p:cNvSpPr>
            <p:nvPr/>
          </p:nvSpPr>
          <p:spPr bwMode="auto">
            <a:xfrm>
              <a:off x="-6780881" y="3530228"/>
              <a:ext cx="1018664" cy="971704"/>
            </a:xfrm>
            <a:custGeom>
              <a:avLst/>
              <a:gdLst>
                <a:gd name="T0" fmla="*/ 593 w 630"/>
                <a:gd name="T1" fmla="*/ 251 h 601"/>
                <a:gd name="T2" fmla="*/ 609 w 630"/>
                <a:gd name="T3" fmla="*/ 270 h 601"/>
                <a:gd name="T4" fmla="*/ 609 w 630"/>
                <a:gd name="T5" fmla="*/ 305 h 601"/>
                <a:gd name="T6" fmla="*/ 615 w 630"/>
                <a:gd name="T7" fmla="*/ 336 h 601"/>
                <a:gd name="T8" fmla="*/ 628 w 630"/>
                <a:gd name="T9" fmla="*/ 373 h 601"/>
                <a:gd name="T10" fmla="*/ 626 w 630"/>
                <a:gd name="T11" fmla="*/ 391 h 601"/>
                <a:gd name="T12" fmla="*/ 630 w 630"/>
                <a:gd name="T13" fmla="*/ 421 h 601"/>
                <a:gd name="T14" fmla="*/ 573 w 630"/>
                <a:gd name="T15" fmla="*/ 464 h 601"/>
                <a:gd name="T16" fmla="*/ 488 w 630"/>
                <a:gd name="T17" fmla="*/ 498 h 601"/>
                <a:gd name="T18" fmla="*/ 465 w 630"/>
                <a:gd name="T19" fmla="*/ 528 h 601"/>
                <a:gd name="T20" fmla="*/ 436 w 630"/>
                <a:gd name="T21" fmla="*/ 546 h 601"/>
                <a:gd name="T22" fmla="*/ 399 w 630"/>
                <a:gd name="T23" fmla="*/ 578 h 601"/>
                <a:gd name="T24" fmla="*/ 358 w 630"/>
                <a:gd name="T25" fmla="*/ 600 h 601"/>
                <a:gd name="T26" fmla="*/ 319 w 630"/>
                <a:gd name="T27" fmla="*/ 600 h 601"/>
                <a:gd name="T28" fmla="*/ 291 w 630"/>
                <a:gd name="T29" fmla="*/ 574 h 601"/>
                <a:gd name="T30" fmla="*/ 237 w 630"/>
                <a:gd name="T31" fmla="*/ 559 h 601"/>
                <a:gd name="T32" fmla="*/ 190 w 630"/>
                <a:gd name="T33" fmla="*/ 569 h 601"/>
                <a:gd name="T34" fmla="*/ 144 w 630"/>
                <a:gd name="T35" fmla="*/ 564 h 601"/>
                <a:gd name="T36" fmla="*/ 112 w 630"/>
                <a:gd name="T37" fmla="*/ 538 h 601"/>
                <a:gd name="T38" fmla="*/ 112 w 630"/>
                <a:gd name="T39" fmla="*/ 512 h 601"/>
                <a:gd name="T40" fmla="*/ 99 w 630"/>
                <a:gd name="T41" fmla="*/ 487 h 601"/>
                <a:gd name="T42" fmla="*/ 111 w 630"/>
                <a:gd name="T43" fmla="*/ 464 h 601"/>
                <a:gd name="T44" fmla="*/ 129 w 630"/>
                <a:gd name="T45" fmla="*/ 451 h 601"/>
                <a:gd name="T46" fmla="*/ 149 w 630"/>
                <a:gd name="T47" fmla="*/ 427 h 601"/>
                <a:gd name="T48" fmla="*/ 155 w 630"/>
                <a:gd name="T49" fmla="*/ 408 h 601"/>
                <a:gd name="T50" fmla="*/ 142 w 630"/>
                <a:gd name="T51" fmla="*/ 396 h 601"/>
                <a:gd name="T52" fmla="*/ 127 w 630"/>
                <a:gd name="T53" fmla="*/ 400 h 601"/>
                <a:gd name="T54" fmla="*/ 102 w 630"/>
                <a:gd name="T55" fmla="*/ 401 h 601"/>
                <a:gd name="T56" fmla="*/ 68 w 630"/>
                <a:gd name="T57" fmla="*/ 383 h 601"/>
                <a:gd name="T58" fmla="*/ 48 w 630"/>
                <a:gd name="T59" fmla="*/ 352 h 601"/>
                <a:gd name="T60" fmla="*/ 37 w 630"/>
                <a:gd name="T61" fmla="*/ 326 h 601"/>
                <a:gd name="T62" fmla="*/ 27 w 630"/>
                <a:gd name="T63" fmla="*/ 291 h 601"/>
                <a:gd name="T64" fmla="*/ 1 w 630"/>
                <a:gd name="T65" fmla="*/ 260 h 601"/>
                <a:gd name="T66" fmla="*/ 9 w 630"/>
                <a:gd name="T67" fmla="*/ 210 h 601"/>
                <a:gd name="T68" fmla="*/ 9 w 630"/>
                <a:gd name="T69" fmla="*/ 200 h 601"/>
                <a:gd name="T70" fmla="*/ 20 w 630"/>
                <a:gd name="T71" fmla="*/ 173 h 601"/>
                <a:gd name="T72" fmla="*/ 22 w 630"/>
                <a:gd name="T73" fmla="*/ 138 h 601"/>
                <a:gd name="T74" fmla="*/ 26 w 630"/>
                <a:gd name="T75" fmla="*/ 75 h 601"/>
                <a:gd name="T76" fmla="*/ 46 w 630"/>
                <a:gd name="T77" fmla="*/ 36 h 601"/>
                <a:gd name="T78" fmla="*/ 65 w 630"/>
                <a:gd name="T79" fmla="*/ 22 h 601"/>
                <a:gd name="T80" fmla="*/ 69 w 630"/>
                <a:gd name="T81" fmla="*/ 3 h 601"/>
                <a:gd name="T82" fmla="*/ 104 w 630"/>
                <a:gd name="T83" fmla="*/ 4 h 601"/>
                <a:gd name="T84" fmla="*/ 120 w 630"/>
                <a:gd name="T85" fmla="*/ 34 h 601"/>
                <a:gd name="T86" fmla="*/ 121 w 630"/>
                <a:gd name="T87" fmla="*/ 97 h 601"/>
                <a:gd name="T88" fmla="*/ 167 w 630"/>
                <a:gd name="T89" fmla="*/ 99 h 601"/>
                <a:gd name="T90" fmla="*/ 193 w 630"/>
                <a:gd name="T91" fmla="*/ 126 h 601"/>
                <a:gd name="T92" fmla="*/ 192 w 630"/>
                <a:gd name="T93" fmla="*/ 159 h 601"/>
                <a:gd name="T94" fmla="*/ 183 w 630"/>
                <a:gd name="T95" fmla="*/ 177 h 601"/>
                <a:gd name="T96" fmla="*/ 189 w 630"/>
                <a:gd name="T97" fmla="*/ 193 h 601"/>
                <a:gd name="T98" fmla="*/ 212 w 630"/>
                <a:gd name="T99" fmla="*/ 211 h 601"/>
                <a:gd name="T100" fmla="*/ 242 w 630"/>
                <a:gd name="T101" fmla="*/ 236 h 601"/>
                <a:gd name="T102" fmla="*/ 332 w 630"/>
                <a:gd name="T103" fmla="*/ 241 h 601"/>
                <a:gd name="T104" fmla="*/ 355 w 630"/>
                <a:gd name="T105" fmla="*/ 234 h 601"/>
                <a:gd name="T106" fmla="*/ 371 w 630"/>
                <a:gd name="T107" fmla="*/ 209 h 601"/>
                <a:gd name="T108" fmla="*/ 394 w 630"/>
                <a:gd name="T109" fmla="*/ 192 h 601"/>
                <a:gd name="T110" fmla="*/ 378 w 630"/>
                <a:gd name="T111" fmla="*/ 165 h 601"/>
                <a:gd name="T112" fmla="*/ 386 w 630"/>
                <a:gd name="T113" fmla="*/ 155 h 601"/>
                <a:gd name="T114" fmla="*/ 543 w 630"/>
                <a:gd name="T115" fmla="*/ 221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0" h="601">
                  <a:moveTo>
                    <a:pt x="543" y="221"/>
                  </a:moveTo>
                  <a:lnTo>
                    <a:pt x="593" y="251"/>
                  </a:lnTo>
                  <a:lnTo>
                    <a:pt x="603" y="255"/>
                  </a:lnTo>
                  <a:lnTo>
                    <a:pt x="609" y="270"/>
                  </a:lnTo>
                  <a:lnTo>
                    <a:pt x="611" y="286"/>
                  </a:lnTo>
                  <a:lnTo>
                    <a:pt x="609" y="305"/>
                  </a:lnTo>
                  <a:lnTo>
                    <a:pt x="612" y="327"/>
                  </a:lnTo>
                  <a:lnTo>
                    <a:pt x="615" y="336"/>
                  </a:lnTo>
                  <a:lnTo>
                    <a:pt x="620" y="345"/>
                  </a:lnTo>
                  <a:lnTo>
                    <a:pt x="628" y="373"/>
                  </a:lnTo>
                  <a:lnTo>
                    <a:pt x="628" y="383"/>
                  </a:lnTo>
                  <a:lnTo>
                    <a:pt x="626" y="391"/>
                  </a:lnTo>
                  <a:lnTo>
                    <a:pt x="630" y="410"/>
                  </a:lnTo>
                  <a:lnTo>
                    <a:pt x="630" y="421"/>
                  </a:lnTo>
                  <a:lnTo>
                    <a:pt x="620" y="441"/>
                  </a:lnTo>
                  <a:lnTo>
                    <a:pt x="573" y="464"/>
                  </a:lnTo>
                  <a:lnTo>
                    <a:pt x="503" y="481"/>
                  </a:lnTo>
                  <a:lnTo>
                    <a:pt x="488" y="498"/>
                  </a:lnTo>
                  <a:lnTo>
                    <a:pt x="481" y="509"/>
                  </a:lnTo>
                  <a:lnTo>
                    <a:pt x="465" y="528"/>
                  </a:lnTo>
                  <a:lnTo>
                    <a:pt x="457" y="535"/>
                  </a:lnTo>
                  <a:lnTo>
                    <a:pt x="436" y="546"/>
                  </a:lnTo>
                  <a:lnTo>
                    <a:pt x="416" y="561"/>
                  </a:lnTo>
                  <a:lnTo>
                    <a:pt x="399" y="578"/>
                  </a:lnTo>
                  <a:lnTo>
                    <a:pt x="379" y="594"/>
                  </a:lnTo>
                  <a:lnTo>
                    <a:pt x="358" y="600"/>
                  </a:lnTo>
                  <a:lnTo>
                    <a:pt x="334" y="601"/>
                  </a:lnTo>
                  <a:lnTo>
                    <a:pt x="319" y="600"/>
                  </a:lnTo>
                  <a:lnTo>
                    <a:pt x="308" y="584"/>
                  </a:lnTo>
                  <a:lnTo>
                    <a:pt x="291" y="574"/>
                  </a:lnTo>
                  <a:lnTo>
                    <a:pt x="255" y="559"/>
                  </a:lnTo>
                  <a:lnTo>
                    <a:pt x="237" y="559"/>
                  </a:lnTo>
                  <a:lnTo>
                    <a:pt x="218" y="565"/>
                  </a:lnTo>
                  <a:lnTo>
                    <a:pt x="190" y="569"/>
                  </a:lnTo>
                  <a:lnTo>
                    <a:pt x="162" y="569"/>
                  </a:lnTo>
                  <a:lnTo>
                    <a:pt x="144" y="564"/>
                  </a:lnTo>
                  <a:lnTo>
                    <a:pt x="118" y="551"/>
                  </a:lnTo>
                  <a:lnTo>
                    <a:pt x="112" y="538"/>
                  </a:lnTo>
                  <a:lnTo>
                    <a:pt x="114" y="524"/>
                  </a:lnTo>
                  <a:lnTo>
                    <a:pt x="112" y="512"/>
                  </a:lnTo>
                  <a:lnTo>
                    <a:pt x="105" y="501"/>
                  </a:lnTo>
                  <a:lnTo>
                    <a:pt x="99" y="487"/>
                  </a:lnTo>
                  <a:lnTo>
                    <a:pt x="104" y="474"/>
                  </a:lnTo>
                  <a:lnTo>
                    <a:pt x="111" y="464"/>
                  </a:lnTo>
                  <a:lnTo>
                    <a:pt x="118" y="454"/>
                  </a:lnTo>
                  <a:lnTo>
                    <a:pt x="129" y="451"/>
                  </a:lnTo>
                  <a:lnTo>
                    <a:pt x="136" y="444"/>
                  </a:lnTo>
                  <a:lnTo>
                    <a:pt x="149" y="427"/>
                  </a:lnTo>
                  <a:lnTo>
                    <a:pt x="154" y="416"/>
                  </a:lnTo>
                  <a:lnTo>
                    <a:pt x="155" y="408"/>
                  </a:lnTo>
                  <a:lnTo>
                    <a:pt x="150" y="401"/>
                  </a:lnTo>
                  <a:lnTo>
                    <a:pt x="142" y="396"/>
                  </a:lnTo>
                  <a:lnTo>
                    <a:pt x="132" y="398"/>
                  </a:lnTo>
                  <a:lnTo>
                    <a:pt x="127" y="400"/>
                  </a:lnTo>
                  <a:lnTo>
                    <a:pt x="122" y="401"/>
                  </a:lnTo>
                  <a:lnTo>
                    <a:pt x="102" y="401"/>
                  </a:lnTo>
                  <a:lnTo>
                    <a:pt x="82" y="398"/>
                  </a:lnTo>
                  <a:lnTo>
                    <a:pt x="68" y="383"/>
                  </a:lnTo>
                  <a:lnTo>
                    <a:pt x="63" y="362"/>
                  </a:lnTo>
                  <a:lnTo>
                    <a:pt x="48" y="352"/>
                  </a:lnTo>
                  <a:lnTo>
                    <a:pt x="31" y="344"/>
                  </a:lnTo>
                  <a:lnTo>
                    <a:pt x="37" y="326"/>
                  </a:lnTo>
                  <a:lnTo>
                    <a:pt x="38" y="308"/>
                  </a:lnTo>
                  <a:lnTo>
                    <a:pt x="27" y="291"/>
                  </a:lnTo>
                  <a:lnTo>
                    <a:pt x="12" y="277"/>
                  </a:lnTo>
                  <a:lnTo>
                    <a:pt x="1" y="260"/>
                  </a:lnTo>
                  <a:lnTo>
                    <a:pt x="0" y="217"/>
                  </a:lnTo>
                  <a:lnTo>
                    <a:pt x="9" y="210"/>
                  </a:lnTo>
                  <a:lnTo>
                    <a:pt x="9" y="204"/>
                  </a:lnTo>
                  <a:lnTo>
                    <a:pt x="9" y="200"/>
                  </a:lnTo>
                  <a:lnTo>
                    <a:pt x="23" y="183"/>
                  </a:lnTo>
                  <a:lnTo>
                    <a:pt x="20" y="173"/>
                  </a:lnTo>
                  <a:lnTo>
                    <a:pt x="22" y="161"/>
                  </a:lnTo>
                  <a:lnTo>
                    <a:pt x="22" y="138"/>
                  </a:lnTo>
                  <a:lnTo>
                    <a:pt x="33" y="98"/>
                  </a:lnTo>
                  <a:lnTo>
                    <a:pt x="26" y="75"/>
                  </a:lnTo>
                  <a:lnTo>
                    <a:pt x="31" y="53"/>
                  </a:lnTo>
                  <a:lnTo>
                    <a:pt x="46" y="36"/>
                  </a:lnTo>
                  <a:lnTo>
                    <a:pt x="57" y="31"/>
                  </a:lnTo>
                  <a:lnTo>
                    <a:pt x="65" y="22"/>
                  </a:lnTo>
                  <a:lnTo>
                    <a:pt x="66" y="12"/>
                  </a:lnTo>
                  <a:lnTo>
                    <a:pt x="69" y="3"/>
                  </a:lnTo>
                  <a:lnTo>
                    <a:pt x="85" y="0"/>
                  </a:lnTo>
                  <a:lnTo>
                    <a:pt x="104" y="4"/>
                  </a:lnTo>
                  <a:lnTo>
                    <a:pt x="114" y="18"/>
                  </a:lnTo>
                  <a:lnTo>
                    <a:pt x="120" y="34"/>
                  </a:lnTo>
                  <a:lnTo>
                    <a:pt x="122" y="49"/>
                  </a:lnTo>
                  <a:lnTo>
                    <a:pt x="121" y="97"/>
                  </a:lnTo>
                  <a:lnTo>
                    <a:pt x="132" y="104"/>
                  </a:lnTo>
                  <a:lnTo>
                    <a:pt x="167" y="99"/>
                  </a:lnTo>
                  <a:lnTo>
                    <a:pt x="187" y="105"/>
                  </a:lnTo>
                  <a:lnTo>
                    <a:pt x="193" y="126"/>
                  </a:lnTo>
                  <a:lnTo>
                    <a:pt x="194" y="151"/>
                  </a:lnTo>
                  <a:lnTo>
                    <a:pt x="192" y="159"/>
                  </a:lnTo>
                  <a:lnTo>
                    <a:pt x="187" y="167"/>
                  </a:lnTo>
                  <a:lnTo>
                    <a:pt x="183" y="177"/>
                  </a:lnTo>
                  <a:lnTo>
                    <a:pt x="182" y="186"/>
                  </a:lnTo>
                  <a:lnTo>
                    <a:pt x="189" y="193"/>
                  </a:lnTo>
                  <a:lnTo>
                    <a:pt x="199" y="196"/>
                  </a:lnTo>
                  <a:lnTo>
                    <a:pt x="212" y="211"/>
                  </a:lnTo>
                  <a:lnTo>
                    <a:pt x="222" y="230"/>
                  </a:lnTo>
                  <a:lnTo>
                    <a:pt x="242" y="236"/>
                  </a:lnTo>
                  <a:lnTo>
                    <a:pt x="284" y="243"/>
                  </a:lnTo>
                  <a:lnTo>
                    <a:pt x="332" y="241"/>
                  </a:lnTo>
                  <a:lnTo>
                    <a:pt x="343" y="239"/>
                  </a:lnTo>
                  <a:lnTo>
                    <a:pt x="355" y="234"/>
                  </a:lnTo>
                  <a:lnTo>
                    <a:pt x="363" y="216"/>
                  </a:lnTo>
                  <a:lnTo>
                    <a:pt x="371" y="209"/>
                  </a:lnTo>
                  <a:lnTo>
                    <a:pt x="390" y="202"/>
                  </a:lnTo>
                  <a:lnTo>
                    <a:pt x="394" y="192"/>
                  </a:lnTo>
                  <a:lnTo>
                    <a:pt x="389" y="182"/>
                  </a:lnTo>
                  <a:lnTo>
                    <a:pt x="378" y="165"/>
                  </a:lnTo>
                  <a:lnTo>
                    <a:pt x="381" y="158"/>
                  </a:lnTo>
                  <a:lnTo>
                    <a:pt x="386" y="155"/>
                  </a:lnTo>
                  <a:lnTo>
                    <a:pt x="396" y="153"/>
                  </a:lnTo>
                  <a:lnTo>
                    <a:pt x="543" y="221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6" name="Oyo"/>
            <p:cNvSpPr>
              <a:spLocks/>
            </p:cNvSpPr>
            <p:nvPr/>
          </p:nvSpPr>
          <p:spPr bwMode="auto">
            <a:xfrm>
              <a:off x="-9642841" y="4099346"/>
              <a:ext cx="920032" cy="1036376"/>
            </a:xfrm>
            <a:custGeom>
              <a:avLst/>
              <a:gdLst>
                <a:gd name="T0" fmla="*/ 0 w 569"/>
                <a:gd name="T1" fmla="*/ 385 h 641"/>
                <a:gd name="T2" fmla="*/ 3 w 569"/>
                <a:gd name="T3" fmla="*/ 376 h 641"/>
                <a:gd name="T4" fmla="*/ 10 w 569"/>
                <a:gd name="T5" fmla="*/ 317 h 641"/>
                <a:gd name="T6" fmla="*/ 16 w 569"/>
                <a:gd name="T7" fmla="*/ 302 h 641"/>
                <a:gd name="T8" fmla="*/ 17 w 569"/>
                <a:gd name="T9" fmla="*/ 284 h 641"/>
                <a:gd name="T10" fmla="*/ 7 w 569"/>
                <a:gd name="T11" fmla="*/ 257 h 641"/>
                <a:gd name="T12" fmla="*/ 10 w 569"/>
                <a:gd name="T13" fmla="*/ 235 h 641"/>
                <a:gd name="T14" fmla="*/ 11 w 569"/>
                <a:gd name="T15" fmla="*/ 224 h 641"/>
                <a:gd name="T16" fmla="*/ 22 w 569"/>
                <a:gd name="T17" fmla="*/ 204 h 641"/>
                <a:gd name="T18" fmla="*/ 39 w 569"/>
                <a:gd name="T19" fmla="*/ 180 h 641"/>
                <a:gd name="T20" fmla="*/ 75 w 569"/>
                <a:gd name="T21" fmla="*/ 175 h 641"/>
                <a:gd name="T22" fmla="*/ 104 w 569"/>
                <a:gd name="T23" fmla="*/ 149 h 641"/>
                <a:gd name="T24" fmla="*/ 118 w 569"/>
                <a:gd name="T25" fmla="*/ 140 h 641"/>
                <a:gd name="T26" fmla="*/ 142 w 569"/>
                <a:gd name="T27" fmla="*/ 123 h 641"/>
                <a:gd name="T28" fmla="*/ 159 w 569"/>
                <a:gd name="T29" fmla="*/ 121 h 641"/>
                <a:gd name="T30" fmla="*/ 168 w 569"/>
                <a:gd name="T31" fmla="*/ 129 h 641"/>
                <a:gd name="T32" fmla="*/ 221 w 569"/>
                <a:gd name="T33" fmla="*/ 102 h 641"/>
                <a:gd name="T34" fmla="*/ 308 w 569"/>
                <a:gd name="T35" fmla="*/ 56 h 641"/>
                <a:gd name="T36" fmla="*/ 324 w 569"/>
                <a:gd name="T37" fmla="*/ 25 h 641"/>
                <a:gd name="T38" fmla="*/ 360 w 569"/>
                <a:gd name="T39" fmla="*/ 0 h 641"/>
                <a:gd name="T40" fmla="*/ 388 w 569"/>
                <a:gd name="T41" fmla="*/ 29 h 641"/>
                <a:gd name="T42" fmla="*/ 449 w 569"/>
                <a:gd name="T43" fmla="*/ 59 h 641"/>
                <a:gd name="T44" fmla="*/ 494 w 569"/>
                <a:gd name="T45" fmla="*/ 55 h 641"/>
                <a:gd name="T46" fmla="*/ 478 w 569"/>
                <a:gd name="T47" fmla="*/ 87 h 641"/>
                <a:gd name="T48" fmla="*/ 460 w 569"/>
                <a:gd name="T49" fmla="*/ 108 h 641"/>
                <a:gd name="T50" fmla="*/ 487 w 569"/>
                <a:gd name="T51" fmla="*/ 204 h 641"/>
                <a:gd name="T52" fmla="*/ 518 w 569"/>
                <a:gd name="T53" fmla="*/ 275 h 641"/>
                <a:gd name="T54" fmla="*/ 544 w 569"/>
                <a:gd name="T55" fmla="*/ 305 h 641"/>
                <a:gd name="T56" fmla="*/ 561 w 569"/>
                <a:gd name="T57" fmla="*/ 340 h 641"/>
                <a:gd name="T58" fmla="*/ 569 w 569"/>
                <a:gd name="T59" fmla="*/ 363 h 641"/>
                <a:gd name="T60" fmla="*/ 557 w 569"/>
                <a:gd name="T61" fmla="*/ 371 h 641"/>
                <a:gd name="T62" fmla="*/ 542 w 569"/>
                <a:gd name="T63" fmla="*/ 380 h 641"/>
                <a:gd name="T64" fmla="*/ 537 w 569"/>
                <a:gd name="T65" fmla="*/ 384 h 641"/>
                <a:gd name="T66" fmla="*/ 519 w 569"/>
                <a:gd name="T67" fmla="*/ 398 h 641"/>
                <a:gd name="T68" fmla="*/ 489 w 569"/>
                <a:gd name="T69" fmla="*/ 371 h 641"/>
                <a:gd name="T70" fmla="*/ 467 w 569"/>
                <a:gd name="T71" fmla="*/ 382 h 641"/>
                <a:gd name="T72" fmla="*/ 461 w 569"/>
                <a:gd name="T73" fmla="*/ 393 h 641"/>
                <a:gd name="T74" fmla="*/ 421 w 569"/>
                <a:gd name="T75" fmla="*/ 413 h 641"/>
                <a:gd name="T76" fmla="*/ 415 w 569"/>
                <a:gd name="T77" fmla="*/ 450 h 641"/>
                <a:gd name="T78" fmla="*/ 416 w 569"/>
                <a:gd name="T79" fmla="*/ 473 h 641"/>
                <a:gd name="T80" fmla="*/ 435 w 569"/>
                <a:gd name="T81" fmla="*/ 496 h 641"/>
                <a:gd name="T82" fmla="*/ 423 w 569"/>
                <a:gd name="T83" fmla="*/ 621 h 641"/>
                <a:gd name="T84" fmla="*/ 395 w 569"/>
                <a:gd name="T85" fmla="*/ 626 h 641"/>
                <a:gd name="T86" fmla="*/ 331 w 569"/>
                <a:gd name="T87" fmla="*/ 641 h 641"/>
                <a:gd name="T88" fmla="*/ 332 w 569"/>
                <a:gd name="T89" fmla="*/ 611 h 641"/>
                <a:gd name="T90" fmla="*/ 326 w 569"/>
                <a:gd name="T91" fmla="*/ 584 h 641"/>
                <a:gd name="T92" fmla="*/ 316 w 569"/>
                <a:gd name="T93" fmla="*/ 568 h 641"/>
                <a:gd name="T94" fmla="*/ 306 w 569"/>
                <a:gd name="T95" fmla="*/ 540 h 641"/>
                <a:gd name="T96" fmla="*/ 256 w 569"/>
                <a:gd name="T97" fmla="*/ 528 h 641"/>
                <a:gd name="T98" fmla="*/ 234 w 569"/>
                <a:gd name="T99" fmla="*/ 514 h 641"/>
                <a:gd name="T100" fmla="*/ 198 w 569"/>
                <a:gd name="T101" fmla="*/ 544 h 641"/>
                <a:gd name="T102" fmla="*/ 153 w 569"/>
                <a:gd name="T103" fmla="*/ 549 h 641"/>
                <a:gd name="T104" fmla="*/ 109 w 569"/>
                <a:gd name="T105" fmla="*/ 493 h 641"/>
                <a:gd name="T106" fmla="*/ 89 w 569"/>
                <a:gd name="T107" fmla="*/ 461 h 641"/>
                <a:gd name="T108" fmla="*/ 87 w 569"/>
                <a:gd name="T109" fmla="*/ 403 h 641"/>
                <a:gd name="T110" fmla="*/ 72 w 569"/>
                <a:gd name="T111" fmla="*/ 431 h 641"/>
                <a:gd name="T112" fmla="*/ 57 w 569"/>
                <a:gd name="T113" fmla="*/ 367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69" h="641">
                  <a:moveTo>
                    <a:pt x="28" y="367"/>
                  </a:moveTo>
                  <a:lnTo>
                    <a:pt x="2" y="384"/>
                  </a:lnTo>
                  <a:lnTo>
                    <a:pt x="0" y="385"/>
                  </a:lnTo>
                  <a:lnTo>
                    <a:pt x="0" y="384"/>
                  </a:lnTo>
                  <a:lnTo>
                    <a:pt x="1" y="382"/>
                  </a:lnTo>
                  <a:lnTo>
                    <a:pt x="3" y="376"/>
                  </a:lnTo>
                  <a:lnTo>
                    <a:pt x="6" y="354"/>
                  </a:lnTo>
                  <a:lnTo>
                    <a:pt x="9" y="336"/>
                  </a:lnTo>
                  <a:lnTo>
                    <a:pt x="10" y="317"/>
                  </a:lnTo>
                  <a:lnTo>
                    <a:pt x="11" y="312"/>
                  </a:lnTo>
                  <a:lnTo>
                    <a:pt x="13" y="307"/>
                  </a:lnTo>
                  <a:lnTo>
                    <a:pt x="16" y="302"/>
                  </a:lnTo>
                  <a:lnTo>
                    <a:pt x="20" y="297"/>
                  </a:lnTo>
                  <a:lnTo>
                    <a:pt x="20" y="290"/>
                  </a:lnTo>
                  <a:lnTo>
                    <a:pt x="17" y="284"/>
                  </a:lnTo>
                  <a:lnTo>
                    <a:pt x="11" y="270"/>
                  </a:lnTo>
                  <a:lnTo>
                    <a:pt x="9" y="264"/>
                  </a:lnTo>
                  <a:lnTo>
                    <a:pt x="7" y="257"/>
                  </a:lnTo>
                  <a:lnTo>
                    <a:pt x="8" y="252"/>
                  </a:lnTo>
                  <a:lnTo>
                    <a:pt x="10" y="238"/>
                  </a:lnTo>
                  <a:lnTo>
                    <a:pt x="10" y="235"/>
                  </a:lnTo>
                  <a:lnTo>
                    <a:pt x="9" y="230"/>
                  </a:lnTo>
                  <a:lnTo>
                    <a:pt x="9" y="227"/>
                  </a:lnTo>
                  <a:lnTo>
                    <a:pt x="11" y="224"/>
                  </a:lnTo>
                  <a:lnTo>
                    <a:pt x="17" y="217"/>
                  </a:lnTo>
                  <a:lnTo>
                    <a:pt x="20" y="214"/>
                  </a:lnTo>
                  <a:lnTo>
                    <a:pt x="22" y="204"/>
                  </a:lnTo>
                  <a:lnTo>
                    <a:pt x="22" y="194"/>
                  </a:lnTo>
                  <a:lnTo>
                    <a:pt x="24" y="193"/>
                  </a:lnTo>
                  <a:lnTo>
                    <a:pt x="39" y="180"/>
                  </a:lnTo>
                  <a:lnTo>
                    <a:pt x="45" y="180"/>
                  </a:lnTo>
                  <a:lnTo>
                    <a:pt x="51" y="180"/>
                  </a:lnTo>
                  <a:lnTo>
                    <a:pt x="75" y="175"/>
                  </a:lnTo>
                  <a:lnTo>
                    <a:pt x="82" y="170"/>
                  </a:lnTo>
                  <a:lnTo>
                    <a:pt x="87" y="164"/>
                  </a:lnTo>
                  <a:lnTo>
                    <a:pt x="104" y="149"/>
                  </a:lnTo>
                  <a:lnTo>
                    <a:pt x="111" y="147"/>
                  </a:lnTo>
                  <a:lnTo>
                    <a:pt x="113" y="144"/>
                  </a:lnTo>
                  <a:lnTo>
                    <a:pt x="118" y="140"/>
                  </a:lnTo>
                  <a:lnTo>
                    <a:pt x="124" y="137"/>
                  </a:lnTo>
                  <a:lnTo>
                    <a:pt x="136" y="126"/>
                  </a:lnTo>
                  <a:lnTo>
                    <a:pt x="142" y="123"/>
                  </a:lnTo>
                  <a:lnTo>
                    <a:pt x="150" y="121"/>
                  </a:lnTo>
                  <a:lnTo>
                    <a:pt x="155" y="120"/>
                  </a:lnTo>
                  <a:lnTo>
                    <a:pt x="159" y="121"/>
                  </a:lnTo>
                  <a:lnTo>
                    <a:pt x="162" y="124"/>
                  </a:lnTo>
                  <a:lnTo>
                    <a:pt x="165" y="126"/>
                  </a:lnTo>
                  <a:lnTo>
                    <a:pt x="168" y="129"/>
                  </a:lnTo>
                  <a:lnTo>
                    <a:pt x="172" y="129"/>
                  </a:lnTo>
                  <a:lnTo>
                    <a:pt x="208" y="112"/>
                  </a:lnTo>
                  <a:lnTo>
                    <a:pt x="221" y="102"/>
                  </a:lnTo>
                  <a:lnTo>
                    <a:pt x="234" y="96"/>
                  </a:lnTo>
                  <a:lnTo>
                    <a:pt x="246" y="87"/>
                  </a:lnTo>
                  <a:lnTo>
                    <a:pt x="308" y="56"/>
                  </a:lnTo>
                  <a:lnTo>
                    <a:pt x="315" y="51"/>
                  </a:lnTo>
                  <a:lnTo>
                    <a:pt x="321" y="45"/>
                  </a:lnTo>
                  <a:lnTo>
                    <a:pt x="324" y="25"/>
                  </a:lnTo>
                  <a:lnTo>
                    <a:pt x="331" y="10"/>
                  </a:lnTo>
                  <a:lnTo>
                    <a:pt x="345" y="1"/>
                  </a:lnTo>
                  <a:lnTo>
                    <a:pt x="360" y="0"/>
                  </a:lnTo>
                  <a:lnTo>
                    <a:pt x="373" y="6"/>
                  </a:lnTo>
                  <a:lnTo>
                    <a:pt x="382" y="16"/>
                  </a:lnTo>
                  <a:lnTo>
                    <a:pt x="388" y="29"/>
                  </a:lnTo>
                  <a:lnTo>
                    <a:pt x="401" y="40"/>
                  </a:lnTo>
                  <a:lnTo>
                    <a:pt x="413" y="47"/>
                  </a:lnTo>
                  <a:lnTo>
                    <a:pt x="449" y="59"/>
                  </a:lnTo>
                  <a:lnTo>
                    <a:pt x="471" y="64"/>
                  </a:lnTo>
                  <a:lnTo>
                    <a:pt x="479" y="63"/>
                  </a:lnTo>
                  <a:lnTo>
                    <a:pt x="494" y="55"/>
                  </a:lnTo>
                  <a:lnTo>
                    <a:pt x="499" y="66"/>
                  </a:lnTo>
                  <a:lnTo>
                    <a:pt x="489" y="81"/>
                  </a:lnTo>
                  <a:lnTo>
                    <a:pt x="478" y="87"/>
                  </a:lnTo>
                  <a:lnTo>
                    <a:pt x="471" y="94"/>
                  </a:lnTo>
                  <a:lnTo>
                    <a:pt x="466" y="102"/>
                  </a:lnTo>
                  <a:lnTo>
                    <a:pt x="460" y="108"/>
                  </a:lnTo>
                  <a:lnTo>
                    <a:pt x="456" y="127"/>
                  </a:lnTo>
                  <a:lnTo>
                    <a:pt x="460" y="145"/>
                  </a:lnTo>
                  <a:lnTo>
                    <a:pt x="487" y="204"/>
                  </a:lnTo>
                  <a:lnTo>
                    <a:pt x="497" y="220"/>
                  </a:lnTo>
                  <a:lnTo>
                    <a:pt x="507" y="260"/>
                  </a:lnTo>
                  <a:lnTo>
                    <a:pt x="518" y="275"/>
                  </a:lnTo>
                  <a:lnTo>
                    <a:pt x="526" y="283"/>
                  </a:lnTo>
                  <a:lnTo>
                    <a:pt x="534" y="287"/>
                  </a:lnTo>
                  <a:lnTo>
                    <a:pt x="544" y="305"/>
                  </a:lnTo>
                  <a:lnTo>
                    <a:pt x="553" y="333"/>
                  </a:lnTo>
                  <a:lnTo>
                    <a:pt x="556" y="339"/>
                  </a:lnTo>
                  <a:lnTo>
                    <a:pt x="561" y="340"/>
                  </a:lnTo>
                  <a:lnTo>
                    <a:pt x="567" y="343"/>
                  </a:lnTo>
                  <a:lnTo>
                    <a:pt x="569" y="353"/>
                  </a:lnTo>
                  <a:lnTo>
                    <a:pt x="569" y="363"/>
                  </a:lnTo>
                  <a:lnTo>
                    <a:pt x="566" y="368"/>
                  </a:lnTo>
                  <a:lnTo>
                    <a:pt x="564" y="370"/>
                  </a:lnTo>
                  <a:lnTo>
                    <a:pt x="557" y="371"/>
                  </a:lnTo>
                  <a:lnTo>
                    <a:pt x="552" y="373"/>
                  </a:lnTo>
                  <a:lnTo>
                    <a:pt x="546" y="376"/>
                  </a:lnTo>
                  <a:lnTo>
                    <a:pt x="542" y="380"/>
                  </a:lnTo>
                  <a:lnTo>
                    <a:pt x="541" y="379"/>
                  </a:lnTo>
                  <a:lnTo>
                    <a:pt x="538" y="381"/>
                  </a:lnTo>
                  <a:lnTo>
                    <a:pt x="537" y="384"/>
                  </a:lnTo>
                  <a:lnTo>
                    <a:pt x="535" y="386"/>
                  </a:lnTo>
                  <a:lnTo>
                    <a:pt x="526" y="392"/>
                  </a:lnTo>
                  <a:lnTo>
                    <a:pt x="519" y="398"/>
                  </a:lnTo>
                  <a:lnTo>
                    <a:pt x="507" y="396"/>
                  </a:lnTo>
                  <a:lnTo>
                    <a:pt x="497" y="379"/>
                  </a:lnTo>
                  <a:lnTo>
                    <a:pt x="489" y="371"/>
                  </a:lnTo>
                  <a:lnTo>
                    <a:pt x="478" y="368"/>
                  </a:lnTo>
                  <a:lnTo>
                    <a:pt x="472" y="374"/>
                  </a:lnTo>
                  <a:lnTo>
                    <a:pt x="467" y="382"/>
                  </a:lnTo>
                  <a:lnTo>
                    <a:pt x="464" y="384"/>
                  </a:lnTo>
                  <a:lnTo>
                    <a:pt x="461" y="387"/>
                  </a:lnTo>
                  <a:lnTo>
                    <a:pt x="461" y="393"/>
                  </a:lnTo>
                  <a:lnTo>
                    <a:pt x="446" y="404"/>
                  </a:lnTo>
                  <a:lnTo>
                    <a:pt x="425" y="399"/>
                  </a:lnTo>
                  <a:lnTo>
                    <a:pt x="421" y="413"/>
                  </a:lnTo>
                  <a:lnTo>
                    <a:pt x="419" y="432"/>
                  </a:lnTo>
                  <a:lnTo>
                    <a:pt x="418" y="441"/>
                  </a:lnTo>
                  <a:lnTo>
                    <a:pt x="415" y="450"/>
                  </a:lnTo>
                  <a:lnTo>
                    <a:pt x="411" y="458"/>
                  </a:lnTo>
                  <a:lnTo>
                    <a:pt x="410" y="466"/>
                  </a:lnTo>
                  <a:lnTo>
                    <a:pt x="416" y="473"/>
                  </a:lnTo>
                  <a:lnTo>
                    <a:pt x="424" y="478"/>
                  </a:lnTo>
                  <a:lnTo>
                    <a:pt x="431" y="486"/>
                  </a:lnTo>
                  <a:lnTo>
                    <a:pt x="435" y="496"/>
                  </a:lnTo>
                  <a:lnTo>
                    <a:pt x="442" y="503"/>
                  </a:lnTo>
                  <a:lnTo>
                    <a:pt x="444" y="512"/>
                  </a:lnTo>
                  <a:lnTo>
                    <a:pt x="423" y="621"/>
                  </a:lnTo>
                  <a:lnTo>
                    <a:pt x="414" y="622"/>
                  </a:lnTo>
                  <a:lnTo>
                    <a:pt x="405" y="623"/>
                  </a:lnTo>
                  <a:lnTo>
                    <a:pt x="395" y="626"/>
                  </a:lnTo>
                  <a:lnTo>
                    <a:pt x="386" y="631"/>
                  </a:lnTo>
                  <a:lnTo>
                    <a:pt x="368" y="636"/>
                  </a:lnTo>
                  <a:lnTo>
                    <a:pt x="331" y="641"/>
                  </a:lnTo>
                  <a:lnTo>
                    <a:pt x="312" y="640"/>
                  </a:lnTo>
                  <a:lnTo>
                    <a:pt x="321" y="626"/>
                  </a:lnTo>
                  <a:lnTo>
                    <a:pt x="332" y="611"/>
                  </a:lnTo>
                  <a:lnTo>
                    <a:pt x="329" y="593"/>
                  </a:lnTo>
                  <a:lnTo>
                    <a:pt x="327" y="589"/>
                  </a:lnTo>
                  <a:lnTo>
                    <a:pt x="326" y="584"/>
                  </a:lnTo>
                  <a:lnTo>
                    <a:pt x="326" y="579"/>
                  </a:lnTo>
                  <a:lnTo>
                    <a:pt x="324" y="573"/>
                  </a:lnTo>
                  <a:lnTo>
                    <a:pt x="316" y="568"/>
                  </a:lnTo>
                  <a:lnTo>
                    <a:pt x="306" y="562"/>
                  </a:lnTo>
                  <a:lnTo>
                    <a:pt x="306" y="557"/>
                  </a:lnTo>
                  <a:lnTo>
                    <a:pt x="306" y="540"/>
                  </a:lnTo>
                  <a:lnTo>
                    <a:pt x="296" y="525"/>
                  </a:lnTo>
                  <a:lnTo>
                    <a:pt x="265" y="524"/>
                  </a:lnTo>
                  <a:lnTo>
                    <a:pt x="256" y="528"/>
                  </a:lnTo>
                  <a:lnTo>
                    <a:pt x="248" y="534"/>
                  </a:lnTo>
                  <a:lnTo>
                    <a:pt x="239" y="528"/>
                  </a:lnTo>
                  <a:lnTo>
                    <a:pt x="234" y="514"/>
                  </a:lnTo>
                  <a:lnTo>
                    <a:pt x="222" y="506"/>
                  </a:lnTo>
                  <a:lnTo>
                    <a:pt x="210" y="514"/>
                  </a:lnTo>
                  <a:lnTo>
                    <a:pt x="198" y="544"/>
                  </a:lnTo>
                  <a:lnTo>
                    <a:pt x="186" y="554"/>
                  </a:lnTo>
                  <a:lnTo>
                    <a:pt x="169" y="555"/>
                  </a:lnTo>
                  <a:lnTo>
                    <a:pt x="153" y="549"/>
                  </a:lnTo>
                  <a:lnTo>
                    <a:pt x="132" y="530"/>
                  </a:lnTo>
                  <a:lnTo>
                    <a:pt x="118" y="506"/>
                  </a:lnTo>
                  <a:lnTo>
                    <a:pt x="109" y="493"/>
                  </a:lnTo>
                  <a:lnTo>
                    <a:pt x="95" y="482"/>
                  </a:lnTo>
                  <a:lnTo>
                    <a:pt x="90" y="467"/>
                  </a:lnTo>
                  <a:lnTo>
                    <a:pt x="89" y="461"/>
                  </a:lnTo>
                  <a:lnTo>
                    <a:pt x="100" y="430"/>
                  </a:lnTo>
                  <a:lnTo>
                    <a:pt x="98" y="403"/>
                  </a:lnTo>
                  <a:lnTo>
                    <a:pt x="87" y="403"/>
                  </a:lnTo>
                  <a:lnTo>
                    <a:pt x="83" y="417"/>
                  </a:lnTo>
                  <a:lnTo>
                    <a:pt x="80" y="432"/>
                  </a:lnTo>
                  <a:lnTo>
                    <a:pt x="72" y="431"/>
                  </a:lnTo>
                  <a:lnTo>
                    <a:pt x="67" y="415"/>
                  </a:lnTo>
                  <a:lnTo>
                    <a:pt x="65" y="381"/>
                  </a:lnTo>
                  <a:lnTo>
                    <a:pt x="57" y="367"/>
                  </a:lnTo>
                  <a:lnTo>
                    <a:pt x="28" y="367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7" name="Osun"/>
            <p:cNvSpPr>
              <a:spLocks/>
            </p:cNvSpPr>
            <p:nvPr/>
          </p:nvSpPr>
          <p:spPr bwMode="auto">
            <a:xfrm>
              <a:off x="-8979901" y="4631277"/>
              <a:ext cx="501247" cy="536781"/>
            </a:xfrm>
            <a:custGeom>
              <a:avLst/>
              <a:gdLst>
                <a:gd name="T0" fmla="*/ 264 w 310"/>
                <a:gd name="T1" fmla="*/ 137 h 332"/>
                <a:gd name="T2" fmla="*/ 288 w 310"/>
                <a:gd name="T3" fmla="*/ 213 h 332"/>
                <a:gd name="T4" fmla="*/ 260 w 310"/>
                <a:gd name="T5" fmla="*/ 223 h 332"/>
                <a:gd name="T6" fmla="*/ 252 w 310"/>
                <a:gd name="T7" fmla="*/ 252 h 332"/>
                <a:gd name="T8" fmla="*/ 251 w 310"/>
                <a:gd name="T9" fmla="*/ 282 h 332"/>
                <a:gd name="T10" fmla="*/ 251 w 310"/>
                <a:gd name="T11" fmla="*/ 296 h 332"/>
                <a:gd name="T12" fmla="*/ 240 w 310"/>
                <a:gd name="T13" fmla="*/ 298 h 332"/>
                <a:gd name="T14" fmla="*/ 221 w 310"/>
                <a:gd name="T15" fmla="*/ 285 h 332"/>
                <a:gd name="T16" fmla="*/ 198 w 310"/>
                <a:gd name="T17" fmla="*/ 284 h 332"/>
                <a:gd name="T18" fmla="*/ 177 w 310"/>
                <a:gd name="T19" fmla="*/ 308 h 332"/>
                <a:gd name="T20" fmla="*/ 170 w 310"/>
                <a:gd name="T21" fmla="*/ 322 h 332"/>
                <a:gd name="T22" fmla="*/ 153 w 310"/>
                <a:gd name="T23" fmla="*/ 323 h 332"/>
                <a:gd name="T24" fmla="*/ 136 w 310"/>
                <a:gd name="T25" fmla="*/ 325 h 332"/>
                <a:gd name="T26" fmla="*/ 125 w 310"/>
                <a:gd name="T27" fmla="*/ 327 h 332"/>
                <a:gd name="T28" fmla="*/ 107 w 310"/>
                <a:gd name="T29" fmla="*/ 332 h 332"/>
                <a:gd name="T30" fmla="*/ 97 w 310"/>
                <a:gd name="T31" fmla="*/ 326 h 332"/>
                <a:gd name="T32" fmla="*/ 94 w 310"/>
                <a:gd name="T33" fmla="*/ 314 h 332"/>
                <a:gd name="T34" fmla="*/ 81 w 310"/>
                <a:gd name="T35" fmla="*/ 298 h 332"/>
                <a:gd name="T36" fmla="*/ 55 w 310"/>
                <a:gd name="T37" fmla="*/ 306 h 332"/>
                <a:gd name="T38" fmla="*/ 41 w 310"/>
                <a:gd name="T39" fmla="*/ 294 h 332"/>
                <a:gd name="T40" fmla="*/ 13 w 310"/>
                <a:gd name="T41" fmla="*/ 292 h 332"/>
                <a:gd name="T42" fmla="*/ 32 w 310"/>
                <a:gd name="T43" fmla="*/ 174 h 332"/>
                <a:gd name="T44" fmla="*/ 21 w 310"/>
                <a:gd name="T45" fmla="*/ 157 h 332"/>
                <a:gd name="T46" fmla="*/ 6 w 310"/>
                <a:gd name="T47" fmla="*/ 144 h 332"/>
                <a:gd name="T48" fmla="*/ 1 w 310"/>
                <a:gd name="T49" fmla="*/ 129 h 332"/>
                <a:gd name="T50" fmla="*/ 8 w 310"/>
                <a:gd name="T51" fmla="*/ 112 h 332"/>
                <a:gd name="T52" fmla="*/ 11 w 310"/>
                <a:gd name="T53" fmla="*/ 84 h 332"/>
                <a:gd name="T54" fmla="*/ 36 w 310"/>
                <a:gd name="T55" fmla="*/ 75 h 332"/>
                <a:gd name="T56" fmla="*/ 51 w 310"/>
                <a:gd name="T57" fmla="*/ 58 h 332"/>
                <a:gd name="T58" fmla="*/ 57 w 310"/>
                <a:gd name="T59" fmla="*/ 53 h 332"/>
                <a:gd name="T60" fmla="*/ 68 w 310"/>
                <a:gd name="T61" fmla="*/ 39 h 332"/>
                <a:gd name="T62" fmla="*/ 87 w 310"/>
                <a:gd name="T63" fmla="*/ 50 h 332"/>
                <a:gd name="T64" fmla="*/ 109 w 310"/>
                <a:gd name="T65" fmla="*/ 69 h 332"/>
                <a:gd name="T66" fmla="*/ 125 w 310"/>
                <a:gd name="T67" fmla="*/ 57 h 332"/>
                <a:gd name="T68" fmla="*/ 128 w 310"/>
                <a:gd name="T69" fmla="*/ 52 h 332"/>
                <a:gd name="T70" fmla="*/ 132 w 310"/>
                <a:gd name="T71" fmla="*/ 51 h 332"/>
                <a:gd name="T72" fmla="*/ 142 w 310"/>
                <a:gd name="T73" fmla="*/ 44 h 332"/>
                <a:gd name="T74" fmla="*/ 154 w 310"/>
                <a:gd name="T75" fmla="*/ 41 h 332"/>
                <a:gd name="T76" fmla="*/ 159 w 310"/>
                <a:gd name="T77" fmla="*/ 34 h 332"/>
                <a:gd name="T78" fmla="*/ 157 w 310"/>
                <a:gd name="T79" fmla="*/ 14 h 332"/>
                <a:gd name="T80" fmla="*/ 195 w 310"/>
                <a:gd name="T81" fmla="*/ 15 h 332"/>
                <a:gd name="T82" fmla="*/ 220 w 310"/>
                <a:gd name="T83" fmla="*/ 9 h 332"/>
                <a:gd name="T84" fmla="*/ 229 w 310"/>
                <a:gd name="T85" fmla="*/ 9 h 332"/>
                <a:gd name="T86" fmla="*/ 249 w 310"/>
                <a:gd name="T87" fmla="*/ 5 h 332"/>
                <a:gd name="T88" fmla="*/ 272 w 310"/>
                <a:gd name="T89" fmla="*/ 1 h 332"/>
                <a:gd name="T90" fmla="*/ 288 w 310"/>
                <a:gd name="T91" fmla="*/ 17 h 332"/>
                <a:gd name="T92" fmla="*/ 310 w 310"/>
                <a:gd name="T93" fmla="*/ 15 h 332"/>
                <a:gd name="T94" fmla="*/ 294 w 310"/>
                <a:gd name="T95" fmla="*/ 48 h 332"/>
                <a:gd name="T96" fmla="*/ 268 w 310"/>
                <a:gd name="T97" fmla="*/ 71 h 332"/>
                <a:gd name="T98" fmla="*/ 262 w 310"/>
                <a:gd name="T99" fmla="*/ 12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0" h="332">
                  <a:moveTo>
                    <a:pt x="262" y="122"/>
                  </a:moveTo>
                  <a:lnTo>
                    <a:pt x="264" y="137"/>
                  </a:lnTo>
                  <a:lnTo>
                    <a:pt x="288" y="200"/>
                  </a:lnTo>
                  <a:lnTo>
                    <a:pt x="288" y="213"/>
                  </a:lnTo>
                  <a:lnTo>
                    <a:pt x="273" y="217"/>
                  </a:lnTo>
                  <a:lnTo>
                    <a:pt x="260" y="223"/>
                  </a:lnTo>
                  <a:lnTo>
                    <a:pt x="255" y="237"/>
                  </a:lnTo>
                  <a:lnTo>
                    <a:pt x="252" y="252"/>
                  </a:lnTo>
                  <a:lnTo>
                    <a:pt x="252" y="274"/>
                  </a:lnTo>
                  <a:lnTo>
                    <a:pt x="251" y="282"/>
                  </a:lnTo>
                  <a:lnTo>
                    <a:pt x="252" y="290"/>
                  </a:lnTo>
                  <a:lnTo>
                    <a:pt x="251" y="296"/>
                  </a:lnTo>
                  <a:lnTo>
                    <a:pt x="248" y="298"/>
                  </a:lnTo>
                  <a:lnTo>
                    <a:pt x="240" y="298"/>
                  </a:lnTo>
                  <a:lnTo>
                    <a:pt x="236" y="296"/>
                  </a:lnTo>
                  <a:lnTo>
                    <a:pt x="221" y="285"/>
                  </a:lnTo>
                  <a:lnTo>
                    <a:pt x="210" y="281"/>
                  </a:lnTo>
                  <a:lnTo>
                    <a:pt x="198" y="284"/>
                  </a:lnTo>
                  <a:lnTo>
                    <a:pt x="185" y="295"/>
                  </a:lnTo>
                  <a:lnTo>
                    <a:pt x="177" y="308"/>
                  </a:lnTo>
                  <a:lnTo>
                    <a:pt x="175" y="316"/>
                  </a:lnTo>
                  <a:lnTo>
                    <a:pt x="170" y="322"/>
                  </a:lnTo>
                  <a:lnTo>
                    <a:pt x="159" y="328"/>
                  </a:lnTo>
                  <a:lnTo>
                    <a:pt x="153" y="323"/>
                  </a:lnTo>
                  <a:lnTo>
                    <a:pt x="141" y="324"/>
                  </a:lnTo>
                  <a:lnTo>
                    <a:pt x="136" y="325"/>
                  </a:lnTo>
                  <a:lnTo>
                    <a:pt x="131" y="327"/>
                  </a:lnTo>
                  <a:lnTo>
                    <a:pt x="125" y="327"/>
                  </a:lnTo>
                  <a:lnTo>
                    <a:pt x="119" y="325"/>
                  </a:lnTo>
                  <a:lnTo>
                    <a:pt x="107" y="332"/>
                  </a:lnTo>
                  <a:lnTo>
                    <a:pt x="99" y="331"/>
                  </a:lnTo>
                  <a:lnTo>
                    <a:pt x="97" y="326"/>
                  </a:lnTo>
                  <a:lnTo>
                    <a:pt x="97" y="322"/>
                  </a:lnTo>
                  <a:lnTo>
                    <a:pt x="94" y="314"/>
                  </a:lnTo>
                  <a:lnTo>
                    <a:pt x="90" y="307"/>
                  </a:lnTo>
                  <a:lnTo>
                    <a:pt x="81" y="298"/>
                  </a:lnTo>
                  <a:lnTo>
                    <a:pt x="66" y="299"/>
                  </a:lnTo>
                  <a:lnTo>
                    <a:pt x="55" y="306"/>
                  </a:lnTo>
                  <a:lnTo>
                    <a:pt x="43" y="308"/>
                  </a:lnTo>
                  <a:lnTo>
                    <a:pt x="41" y="294"/>
                  </a:lnTo>
                  <a:lnTo>
                    <a:pt x="34" y="281"/>
                  </a:lnTo>
                  <a:lnTo>
                    <a:pt x="13" y="292"/>
                  </a:lnTo>
                  <a:lnTo>
                    <a:pt x="34" y="183"/>
                  </a:lnTo>
                  <a:lnTo>
                    <a:pt x="32" y="174"/>
                  </a:lnTo>
                  <a:lnTo>
                    <a:pt x="25" y="167"/>
                  </a:lnTo>
                  <a:lnTo>
                    <a:pt x="21" y="157"/>
                  </a:lnTo>
                  <a:lnTo>
                    <a:pt x="14" y="149"/>
                  </a:lnTo>
                  <a:lnTo>
                    <a:pt x="6" y="144"/>
                  </a:lnTo>
                  <a:lnTo>
                    <a:pt x="0" y="137"/>
                  </a:lnTo>
                  <a:lnTo>
                    <a:pt x="1" y="129"/>
                  </a:lnTo>
                  <a:lnTo>
                    <a:pt x="5" y="121"/>
                  </a:lnTo>
                  <a:lnTo>
                    <a:pt x="8" y="112"/>
                  </a:lnTo>
                  <a:lnTo>
                    <a:pt x="9" y="103"/>
                  </a:lnTo>
                  <a:lnTo>
                    <a:pt x="11" y="84"/>
                  </a:lnTo>
                  <a:lnTo>
                    <a:pt x="15" y="70"/>
                  </a:lnTo>
                  <a:lnTo>
                    <a:pt x="36" y="75"/>
                  </a:lnTo>
                  <a:lnTo>
                    <a:pt x="51" y="64"/>
                  </a:lnTo>
                  <a:lnTo>
                    <a:pt x="51" y="58"/>
                  </a:lnTo>
                  <a:lnTo>
                    <a:pt x="54" y="55"/>
                  </a:lnTo>
                  <a:lnTo>
                    <a:pt x="57" y="53"/>
                  </a:lnTo>
                  <a:lnTo>
                    <a:pt x="62" y="45"/>
                  </a:lnTo>
                  <a:lnTo>
                    <a:pt x="68" y="39"/>
                  </a:lnTo>
                  <a:lnTo>
                    <a:pt x="79" y="42"/>
                  </a:lnTo>
                  <a:lnTo>
                    <a:pt x="87" y="50"/>
                  </a:lnTo>
                  <a:lnTo>
                    <a:pt x="97" y="67"/>
                  </a:lnTo>
                  <a:lnTo>
                    <a:pt x="109" y="69"/>
                  </a:lnTo>
                  <a:lnTo>
                    <a:pt x="116" y="63"/>
                  </a:lnTo>
                  <a:lnTo>
                    <a:pt x="125" y="57"/>
                  </a:lnTo>
                  <a:lnTo>
                    <a:pt x="127" y="55"/>
                  </a:lnTo>
                  <a:lnTo>
                    <a:pt x="128" y="52"/>
                  </a:lnTo>
                  <a:lnTo>
                    <a:pt x="131" y="50"/>
                  </a:lnTo>
                  <a:lnTo>
                    <a:pt x="132" y="51"/>
                  </a:lnTo>
                  <a:lnTo>
                    <a:pt x="136" y="47"/>
                  </a:lnTo>
                  <a:lnTo>
                    <a:pt x="142" y="44"/>
                  </a:lnTo>
                  <a:lnTo>
                    <a:pt x="147" y="42"/>
                  </a:lnTo>
                  <a:lnTo>
                    <a:pt x="154" y="41"/>
                  </a:lnTo>
                  <a:lnTo>
                    <a:pt x="156" y="39"/>
                  </a:lnTo>
                  <a:lnTo>
                    <a:pt x="159" y="34"/>
                  </a:lnTo>
                  <a:lnTo>
                    <a:pt x="159" y="24"/>
                  </a:lnTo>
                  <a:lnTo>
                    <a:pt x="157" y="14"/>
                  </a:lnTo>
                  <a:lnTo>
                    <a:pt x="176" y="13"/>
                  </a:lnTo>
                  <a:lnTo>
                    <a:pt x="195" y="15"/>
                  </a:lnTo>
                  <a:lnTo>
                    <a:pt x="213" y="12"/>
                  </a:lnTo>
                  <a:lnTo>
                    <a:pt x="220" y="9"/>
                  </a:lnTo>
                  <a:lnTo>
                    <a:pt x="228" y="7"/>
                  </a:lnTo>
                  <a:lnTo>
                    <a:pt x="229" y="9"/>
                  </a:lnTo>
                  <a:lnTo>
                    <a:pt x="231" y="7"/>
                  </a:lnTo>
                  <a:lnTo>
                    <a:pt x="249" y="5"/>
                  </a:lnTo>
                  <a:lnTo>
                    <a:pt x="260" y="0"/>
                  </a:lnTo>
                  <a:lnTo>
                    <a:pt x="272" y="1"/>
                  </a:lnTo>
                  <a:lnTo>
                    <a:pt x="279" y="11"/>
                  </a:lnTo>
                  <a:lnTo>
                    <a:pt x="288" y="17"/>
                  </a:lnTo>
                  <a:lnTo>
                    <a:pt x="305" y="14"/>
                  </a:lnTo>
                  <a:lnTo>
                    <a:pt x="310" y="15"/>
                  </a:lnTo>
                  <a:lnTo>
                    <a:pt x="303" y="40"/>
                  </a:lnTo>
                  <a:lnTo>
                    <a:pt x="294" y="48"/>
                  </a:lnTo>
                  <a:lnTo>
                    <a:pt x="282" y="54"/>
                  </a:lnTo>
                  <a:lnTo>
                    <a:pt x="268" y="71"/>
                  </a:lnTo>
                  <a:lnTo>
                    <a:pt x="265" y="107"/>
                  </a:lnTo>
                  <a:lnTo>
                    <a:pt x="262" y="122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8" name="Ondo"/>
            <p:cNvSpPr>
              <a:spLocks/>
            </p:cNvSpPr>
            <p:nvPr/>
          </p:nvSpPr>
          <p:spPr bwMode="auto">
            <a:xfrm>
              <a:off x="-8824676" y="4783257"/>
              <a:ext cx="813315" cy="931283"/>
            </a:xfrm>
            <a:custGeom>
              <a:avLst/>
              <a:gdLst>
                <a:gd name="T0" fmla="*/ 196 w 503"/>
                <a:gd name="T1" fmla="*/ 576 h 576"/>
                <a:gd name="T2" fmla="*/ 142 w 503"/>
                <a:gd name="T3" fmla="*/ 519 h 576"/>
                <a:gd name="T4" fmla="*/ 118 w 503"/>
                <a:gd name="T5" fmla="*/ 491 h 576"/>
                <a:gd name="T6" fmla="*/ 77 w 503"/>
                <a:gd name="T7" fmla="*/ 462 h 576"/>
                <a:gd name="T8" fmla="*/ 42 w 503"/>
                <a:gd name="T9" fmla="*/ 435 h 576"/>
                <a:gd name="T10" fmla="*/ 65 w 503"/>
                <a:gd name="T11" fmla="*/ 431 h 576"/>
                <a:gd name="T12" fmla="*/ 39 w 503"/>
                <a:gd name="T13" fmla="*/ 416 h 576"/>
                <a:gd name="T14" fmla="*/ 48 w 503"/>
                <a:gd name="T15" fmla="*/ 407 h 576"/>
                <a:gd name="T16" fmla="*/ 72 w 503"/>
                <a:gd name="T17" fmla="*/ 390 h 576"/>
                <a:gd name="T18" fmla="*/ 70 w 503"/>
                <a:gd name="T19" fmla="*/ 350 h 576"/>
                <a:gd name="T20" fmla="*/ 52 w 503"/>
                <a:gd name="T21" fmla="*/ 353 h 576"/>
                <a:gd name="T22" fmla="*/ 19 w 503"/>
                <a:gd name="T23" fmla="*/ 359 h 576"/>
                <a:gd name="T24" fmla="*/ 0 w 503"/>
                <a:gd name="T25" fmla="*/ 346 h 576"/>
                <a:gd name="T26" fmla="*/ 23 w 503"/>
                <a:gd name="T27" fmla="*/ 301 h 576"/>
                <a:gd name="T28" fmla="*/ 63 w 503"/>
                <a:gd name="T29" fmla="*/ 234 h 576"/>
                <a:gd name="T30" fmla="*/ 81 w 503"/>
                <a:gd name="T31" fmla="*/ 214 h 576"/>
                <a:gd name="T32" fmla="*/ 114 w 503"/>
                <a:gd name="T33" fmla="*/ 187 h 576"/>
                <a:gd name="T34" fmla="*/ 144 w 503"/>
                <a:gd name="T35" fmla="*/ 204 h 576"/>
                <a:gd name="T36" fmla="*/ 156 w 503"/>
                <a:gd name="T37" fmla="*/ 196 h 576"/>
                <a:gd name="T38" fmla="*/ 156 w 503"/>
                <a:gd name="T39" fmla="*/ 158 h 576"/>
                <a:gd name="T40" fmla="*/ 177 w 503"/>
                <a:gd name="T41" fmla="*/ 123 h 576"/>
                <a:gd name="T42" fmla="*/ 213 w 503"/>
                <a:gd name="T43" fmla="*/ 99 h 576"/>
                <a:gd name="T44" fmla="*/ 279 w 503"/>
                <a:gd name="T45" fmla="*/ 100 h 576"/>
                <a:gd name="T46" fmla="*/ 307 w 503"/>
                <a:gd name="T47" fmla="*/ 140 h 576"/>
                <a:gd name="T48" fmla="*/ 372 w 503"/>
                <a:gd name="T49" fmla="*/ 82 h 576"/>
                <a:gd name="T50" fmla="*/ 394 w 503"/>
                <a:gd name="T51" fmla="*/ 31 h 576"/>
                <a:gd name="T52" fmla="*/ 410 w 503"/>
                <a:gd name="T53" fmla="*/ 15 h 576"/>
                <a:gd name="T54" fmla="*/ 433 w 503"/>
                <a:gd name="T55" fmla="*/ 12 h 576"/>
                <a:gd name="T56" fmla="*/ 471 w 503"/>
                <a:gd name="T57" fmla="*/ 3 h 576"/>
                <a:gd name="T58" fmla="*/ 503 w 503"/>
                <a:gd name="T59" fmla="*/ 58 h 576"/>
                <a:gd name="T60" fmla="*/ 488 w 503"/>
                <a:gd name="T61" fmla="*/ 78 h 576"/>
                <a:gd name="T62" fmla="*/ 472 w 503"/>
                <a:gd name="T63" fmla="*/ 93 h 576"/>
                <a:gd name="T64" fmla="*/ 480 w 503"/>
                <a:gd name="T65" fmla="*/ 112 h 576"/>
                <a:gd name="T66" fmla="*/ 484 w 503"/>
                <a:gd name="T67" fmla="*/ 132 h 576"/>
                <a:gd name="T68" fmla="*/ 472 w 503"/>
                <a:gd name="T69" fmla="*/ 148 h 576"/>
                <a:gd name="T70" fmla="*/ 458 w 503"/>
                <a:gd name="T71" fmla="*/ 167 h 576"/>
                <a:gd name="T72" fmla="*/ 443 w 503"/>
                <a:gd name="T73" fmla="*/ 208 h 576"/>
                <a:gd name="T74" fmla="*/ 427 w 503"/>
                <a:gd name="T75" fmla="*/ 232 h 576"/>
                <a:gd name="T76" fmla="*/ 431 w 503"/>
                <a:gd name="T77" fmla="*/ 256 h 576"/>
                <a:gd name="T78" fmla="*/ 427 w 503"/>
                <a:gd name="T79" fmla="*/ 261 h 576"/>
                <a:gd name="T80" fmla="*/ 418 w 503"/>
                <a:gd name="T81" fmla="*/ 275 h 576"/>
                <a:gd name="T82" fmla="*/ 409 w 503"/>
                <a:gd name="T83" fmla="*/ 306 h 576"/>
                <a:gd name="T84" fmla="*/ 390 w 503"/>
                <a:gd name="T85" fmla="*/ 307 h 576"/>
                <a:gd name="T86" fmla="*/ 364 w 503"/>
                <a:gd name="T87" fmla="*/ 315 h 576"/>
                <a:gd name="T88" fmla="*/ 352 w 503"/>
                <a:gd name="T89" fmla="*/ 288 h 576"/>
                <a:gd name="T90" fmla="*/ 259 w 503"/>
                <a:gd name="T91" fmla="*/ 269 h 576"/>
                <a:gd name="T92" fmla="*/ 251 w 503"/>
                <a:gd name="T93" fmla="*/ 284 h 576"/>
                <a:gd name="T94" fmla="*/ 231 w 503"/>
                <a:gd name="T95" fmla="*/ 308 h 576"/>
                <a:gd name="T96" fmla="*/ 217 w 503"/>
                <a:gd name="T97" fmla="*/ 336 h 576"/>
                <a:gd name="T98" fmla="*/ 217 w 503"/>
                <a:gd name="T99" fmla="*/ 352 h 576"/>
                <a:gd name="T100" fmla="*/ 231 w 503"/>
                <a:gd name="T101" fmla="*/ 377 h 576"/>
                <a:gd name="T102" fmla="*/ 216 w 503"/>
                <a:gd name="T103" fmla="*/ 410 h 576"/>
                <a:gd name="T104" fmla="*/ 198 w 503"/>
                <a:gd name="T105" fmla="*/ 423 h 576"/>
                <a:gd name="T106" fmla="*/ 191 w 503"/>
                <a:gd name="T107" fmla="*/ 442 h 576"/>
                <a:gd name="T108" fmla="*/ 188 w 503"/>
                <a:gd name="T109" fmla="*/ 444 h 576"/>
                <a:gd name="T110" fmla="*/ 190 w 503"/>
                <a:gd name="T111" fmla="*/ 450 h 576"/>
                <a:gd name="T112" fmla="*/ 209 w 503"/>
                <a:gd name="T113" fmla="*/ 466 h 576"/>
                <a:gd name="T114" fmla="*/ 216 w 503"/>
                <a:gd name="T115" fmla="*/ 472 h 576"/>
                <a:gd name="T116" fmla="*/ 229 w 503"/>
                <a:gd name="T117" fmla="*/ 48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3" h="576">
                  <a:moveTo>
                    <a:pt x="229" y="494"/>
                  </a:moveTo>
                  <a:lnTo>
                    <a:pt x="196" y="575"/>
                  </a:lnTo>
                  <a:lnTo>
                    <a:pt x="196" y="576"/>
                  </a:lnTo>
                  <a:lnTo>
                    <a:pt x="160" y="529"/>
                  </a:lnTo>
                  <a:lnTo>
                    <a:pt x="154" y="524"/>
                  </a:lnTo>
                  <a:lnTo>
                    <a:pt x="142" y="519"/>
                  </a:lnTo>
                  <a:lnTo>
                    <a:pt x="136" y="513"/>
                  </a:lnTo>
                  <a:lnTo>
                    <a:pt x="129" y="501"/>
                  </a:lnTo>
                  <a:lnTo>
                    <a:pt x="118" y="491"/>
                  </a:lnTo>
                  <a:lnTo>
                    <a:pt x="110" y="482"/>
                  </a:lnTo>
                  <a:lnTo>
                    <a:pt x="87" y="468"/>
                  </a:lnTo>
                  <a:lnTo>
                    <a:pt x="77" y="462"/>
                  </a:lnTo>
                  <a:lnTo>
                    <a:pt x="58" y="445"/>
                  </a:lnTo>
                  <a:lnTo>
                    <a:pt x="46" y="437"/>
                  </a:lnTo>
                  <a:lnTo>
                    <a:pt x="42" y="435"/>
                  </a:lnTo>
                  <a:lnTo>
                    <a:pt x="42" y="435"/>
                  </a:lnTo>
                  <a:lnTo>
                    <a:pt x="61" y="436"/>
                  </a:lnTo>
                  <a:lnTo>
                    <a:pt x="65" y="431"/>
                  </a:lnTo>
                  <a:lnTo>
                    <a:pt x="65" y="423"/>
                  </a:lnTo>
                  <a:lnTo>
                    <a:pt x="48" y="416"/>
                  </a:lnTo>
                  <a:lnTo>
                    <a:pt x="39" y="416"/>
                  </a:lnTo>
                  <a:lnTo>
                    <a:pt x="34" y="410"/>
                  </a:lnTo>
                  <a:lnTo>
                    <a:pt x="38" y="408"/>
                  </a:lnTo>
                  <a:lnTo>
                    <a:pt x="48" y="407"/>
                  </a:lnTo>
                  <a:lnTo>
                    <a:pt x="64" y="395"/>
                  </a:lnTo>
                  <a:lnTo>
                    <a:pt x="69" y="394"/>
                  </a:lnTo>
                  <a:lnTo>
                    <a:pt x="72" y="390"/>
                  </a:lnTo>
                  <a:lnTo>
                    <a:pt x="73" y="386"/>
                  </a:lnTo>
                  <a:lnTo>
                    <a:pt x="70" y="372"/>
                  </a:lnTo>
                  <a:lnTo>
                    <a:pt x="70" y="350"/>
                  </a:lnTo>
                  <a:lnTo>
                    <a:pt x="65" y="343"/>
                  </a:lnTo>
                  <a:lnTo>
                    <a:pt x="56" y="346"/>
                  </a:lnTo>
                  <a:lnTo>
                    <a:pt x="52" y="353"/>
                  </a:lnTo>
                  <a:lnTo>
                    <a:pt x="39" y="361"/>
                  </a:lnTo>
                  <a:lnTo>
                    <a:pt x="24" y="360"/>
                  </a:lnTo>
                  <a:lnTo>
                    <a:pt x="19" y="359"/>
                  </a:lnTo>
                  <a:lnTo>
                    <a:pt x="9" y="357"/>
                  </a:lnTo>
                  <a:lnTo>
                    <a:pt x="5" y="354"/>
                  </a:lnTo>
                  <a:lnTo>
                    <a:pt x="0" y="346"/>
                  </a:lnTo>
                  <a:lnTo>
                    <a:pt x="0" y="337"/>
                  </a:lnTo>
                  <a:lnTo>
                    <a:pt x="7" y="317"/>
                  </a:lnTo>
                  <a:lnTo>
                    <a:pt x="23" y="301"/>
                  </a:lnTo>
                  <a:lnTo>
                    <a:pt x="50" y="282"/>
                  </a:lnTo>
                  <a:lnTo>
                    <a:pt x="55" y="274"/>
                  </a:lnTo>
                  <a:lnTo>
                    <a:pt x="63" y="234"/>
                  </a:lnTo>
                  <a:lnTo>
                    <a:pt x="74" y="228"/>
                  </a:lnTo>
                  <a:lnTo>
                    <a:pt x="79" y="222"/>
                  </a:lnTo>
                  <a:lnTo>
                    <a:pt x="81" y="214"/>
                  </a:lnTo>
                  <a:lnTo>
                    <a:pt x="89" y="201"/>
                  </a:lnTo>
                  <a:lnTo>
                    <a:pt x="102" y="190"/>
                  </a:lnTo>
                  <a:lnTo>
                    <a:pt x="114" y="187"/>
                  </a:lnTo>
                  <a:lnTo>
                    <a:pt x="125" y="191"/>
                  </a:lnTo>
                  <a:lnTo>
                    <a:pt x="140" y="202"/>
                  </a:lnTo>
                  <a:lnTo>
                    <a:pt x="144" y="204"/>
                  </a:lnTo>
                  <a:lnTo>
                    <a:pt x="152" y="204"/>
                  </a:lnTo>
                  <a:lnTo>
                    <a:pt x="155" y="202"/>
                  </a:lnTo>
                  <a:lnTo>
                    <a:pt x="156" y="196"/>
                  </a:lnTo>
                  <a:lnTo>
                    <a:pt x="155" y="188"/>
                  </a:lnTo>
                  <a:lnTo>
                    <a:pt x="156" y="180"/>
                  </a:lnTo>
                  <a:lnTo>
                    <a:pt x="156" y="158"/>
                  </a:lnTo>
                  <a:lnTo>
                    <a:pt x="159" y="143"/>
                  </a:lnTo>
                  <a:lnTo>
                    <a:pt x="164" y="129"/>
                  </a:lnTo>
                  <a:lnTo>
                    <a:pt x="177" y="123"/>
                  </a:lnTo>
                  <a:lnTo>
                    <a:pt x="192" y="119"/>
                  </a:lnTo>
                  <a:lnTo>
                    <a:pt x="192" y="106"/>
                  </a:lnTo>
                  <a:lnTo>
                    <a:pt x="213" y="99"/>
                  </a:lnTo>
                  <a:lnTo>
                    <a:pt x="224" y="99"/>
                  </a:lnTo>
                  <a:lnTo>
                    <a:pt x="257" y="101"/>
                  </a:lnTo>
                  <a:lnTo>
                    <a:pt x="279" y="100"/>
                  </a:lnTo>
                  <a:lnTo>
                    <a:pt x="294" y="105"/>
                  </a:lnTo>
                  <a:lnTo>
                    <a:pt x="301" y="120"/>
                  </a:lnTo>
                  <a:lnTo>
                    <a:pt x="307" y="140"/>
                  </a:lnTo>
                  <a:lnTo>
                    <a:pt x="325" y="146"/>
                  </a:lnTo>
                  <a:lnTo>
                    <a:pt x="356" y="121"/>
                  </a:lnTo>
                  <a:lnTo>
                    <a:pt x="372" y="82"/>
                  </a:lnTo>
                  <a:lnTo>
                    <a:pt x="378" y="53"/>
                  </a:lnTo>
                  <a:lnTo>
                    <a:pt x="382" y="45"/>
                  </a:lnTo>
                  <a:lnTo>
                    <a:pt x="394" y="31"/>
                  </a:lnTo>
                  <a:lnTo>
                    <a:pt x="403" y="27"/>
                  </a:lnTo>
                  <a:lnTo>
                    <a:pt x="407" y="21"/>
                  </a:lnTo>
                  <a:lnTo>
                    <a:pt x="410" y="15"/>
                  </a:lnTo>
                  <a:lnTo>
                    <a:pt x="417" y="11"/>
                  </a:lnTo>
                  <a:lnTo>
                    <a:pt x="425" y="15"/>
                  </a:lnTo>
                  <a:lnTo>
                    <a:pt x="433" y="12"/>
                  </a:lnTo>
                  <a:lnTo>
                    <a:pt x="439" y="4"/>
                  </a:lnTo>
                  <a:lnTo>
                    <a:pt x="462" y="0"/>
                  </a:lnTo>
                  <a:lnTo>
                    <a:pt x="471" y="3"/>
                  </a:lnTo>
                  <a:lnTo>
                    <a:pt x="470" y="15"/>
                  </a:lnTo>
                  <a:lnTo>
                    <a:pt x="485" y="39"/>
                  </a:lnTo>
                  <a:lnTo>
                    <a:pt x="503" y="58"/>
                  </a:lnTo>
                  <a:lnTo>
                    <a:pt x="498" y="69"/>
                  </a:lnTo>
                  <a:lnTo>
                    <a:pt x="491" y="76"/>
                  </a:lnTo>
                  <a:lnTo>
                    <a:pt x="488" y="78"/>
                  </a:lnTo>
                  <a:lnTo>
                    <a:pt x="480" y="80"/>
                  </a:lnTo>
                  <a:lnTo>
                    <a:pt x="475" y="83"/>
                  </a:lnTo>
                  <a:lnTo>
                    <a:pt x="472" y="93"/>
                  </a:lnTo>
                  <a:lnTo>
                    <a:pt x="482" y="99"/>
                  </a:lnTo>
                  <a:lnTo>
                    <a:pt x="483" y="104"/>
                  </a:lnTo>
                  <a:lnTo>
                    <a:pt x="480" y="112"/>
                  </a:lnTo>
                  <a:lnTo>
                    <a:pt x="481" y="121"/>
                  </a:lnTo>
                  <a:lnTo>
                    <a:pt x="483" y="125"/>
                  </a:lnTo>
                  <a:lnTo>
                    <a:pt x="484" y="132"/>
                  </a:lnTo>
                  <a:lnTo>
                    <a:pt x="481" y="141"/>
                  </a:lnTo>
                  <a:lnTo>
                    <a:pt x="476" y="145"/>
                  </a:lnTo>
                  <a:lnTo>
                    <a:pt x="472" y="148"/>
                  </a:lnTo>
                  <a:lnTo>
                    <a:pt x="464" y="156"/>
                  </a:lnTo>
                  <a:lnTo>
                    <a:pt x="458" y="163"/>
                  </a:lnTo>
                  <a:lnTo>
                    <a:pt x="458" y="167"/>
                  </a:lnTo>
                  <a:lnTo>
                    <a:pt x="458" y="170"/>
                  </a:lnTo>
                  <a:lnTo>
                    <a:pt x="445" y="201"/>
                  </a:lnTo>
                  <a:lnTo>
                    <a:pt x="443" y="208"/>
                  </a:lnTo>
                  <a:lnTo>
                    <a:pt x="439" y="214"/>
                  </a:lnTo>
                  <a:lnTo>
                    <a:pt x="430" y="222"/>
                  </a:lnTo>
                  <a:lnTo>
                    <a:pt x="427" y="232"/>
                  </a:lnTo>
                  <a:lnTo>
                    <a:pt x="426" y="243"/>
                  </a:lnTo>
                  <a:lnTo>
                    <a:pt x="430" y="253"/>
                  </a:lnTo>
                  <a:lnTo>
                    <a:pt x="431" y="256"/>
                  </a:lnTo>
                  <a:lnTo>
                    <a:pt x="430" y="259"/>
                  </a:lnTo>
                  <a:lnTo>
                    <a:pt x="429" y="259"/>
                  </a:lnTo>
                  <a:lnTo>
                    <a:pt x="427" y="261"/>
                  </a:lnTo>
                  <a:lnTo>
                    <a:pt x="427" y="266"/>
                  </a:lnTo>
                  <a:lnTo>
                    <a:pt x="421" y="267"/>
                  </a:lnTo>
                  <a:lnTo>
                    <a:pt x="418" y="275"/>
                  </a:lnTo>
                  <a:lnTo>
                    <a:pt x="415" y="294"/>
                  </a:lnTo>
                  <a:lnTo>
                    <a:pt x="413" y="298"/>
                  </a:lnTo>
                  <a:lnTo>
                    <a:pt x="409" y="306"/>
                  </a:lnTo>
                  <a:lnTo>
                    <a:pt x="406" y="308"/>
                  </a:lnTo>
                  <a:lnTo>
                    <a:pt x="401" y="309"/>
                  </a:lnTo>
                  <a:lnTo>
                    <a:pt x="390" y="307"/>
                  </a:lnTo>
                  <a:lnTo>
                    <a:pt x="387" y="304"/>
                  </a:lnTo>
                  <a:lnTo>
                    <a:pt x="378" y="303"/>
                  </a:lnTo>
                  <a:lnTo>
                    <a:pt x="364" y="315"/>
                  </a:lnTo>
                  <a:lnTo>
                    <a:pt x="358" y="316"/>
                  </a:lnTo>
                  <a:lnTo>
                    <a:pt x="349" y="296"/>
                  </a:lnTo>
                  <a:lnTo>
                    <a:pt x="352" y="288"/>
                  </a:lnTo>
                  <a:lnTo>
                    <a:pt x="358" y="281"/>
                  </a:lnTo>
                  <a:lnTo>
                    <a:pt x="343" y="269"/>
                  </a:lnTo>
                  <a:lnTo>
                    <a:pt x="259" y="269"/>
                  </a:lnTo>
                  <a:lnTo>
                    <a:pt x="254" y="271"/>
                  </a:lnTo>
                  <a:lnTo>
                    <a:pt x="251" y="275"/>
                  </a:lnTo>
                  <a:lnTo>
                    <a:pt x="251" y="284"/>
                  </a:lnTo>
                  <a:lnTo>
                    <a:pt x="246" y="290"/>
                  </a:lnTo>
                  <a:lnTo>
                    <a:pt x="242" y="298"/>
                  </a:lnTo>
                  <a:lnTo>
                    <a:pt x="231" y="308"/>
                  </a:lnTo>
                  <a:lnTo>
                    <a:pt x="221" y="319"/>
                  </a:lnTo>
                  <a:lnTo>
                    <a:pt x="218" y="327"/>
                  </a:lnTo>
                  <a:lnTo>
                    <a:pt x="217" y="336"/>
                  </a:lnTo>
                  <a:lnTo>
                    <a:pt x="216" y="340"/>
                  </a:lnTo>
                  <a:lnTo>
                    <a:pt x="216" y="349"/>
                  </a:lnTo>
                  <a:lnTo>
                    <a:pt x="217" y="352"/>
                  </a:lnTo>
                  <a:lnTo>
                    <a:pt x="220" y="353"/>
                  </a:lnTo>
                  <a:lnTo>
                    <a:pt x="225" y="361"/>
                  </a:lnTo>
                  <a:lnTo>
                    <a:pt x="231" y="377"/>
                  </a:lnTo>
                  <a:lnTo>
                    <a:pt x="223" y="393"/>
                  </a:lnTo>
                  <a:lnTo>
                    <a:pt x="218" y="400"/>
                  </a:lnTo>
                  <a:lnTo>
                    <a:pt x="216" y="410"/>
                  </a:lnTo>
                  <a:lnTo>
                    <a:pt x="212" y="417"/>
                  </a:lnTo>
                  <a:lnTo>
                    <a:pt x="205" y="421"/>
                  </a:lnTo>
                  <a:lnTo>
                    <a:pt x="198" y="423"/>
                  </a:lnTo>
                  <a:lnTo>
                    <a:pt x="194" y="429"/>
                  </a:lnTo>
                  <a:lnTo>
                    <a:pt x="193" y="438"/>
                  </a:lnTo>
                  <a:lnTo>
                    <a:pt x="191" y="442"/>
                  </a:lnTo>
                  <a:lnTo>
                    <a:pt x="189" y="444"/>
                  </a:lnTo>
                  <a:lnTo>
                    <a:pt x="189" y="443"/>
                  </a:lnTo>
                  <a:lnTo>
                    <a:pt x="188" y="444"/>
                  </a:lnTo>
                  <a:lnTo>
                    <a:pt x="189" y="444"/>
                  </a:lnTo>
                  <a:lnTo>
                    <a:pt x="188" y="447"/>
                  </a:lnTo>
                  <a:lnTo>
                    <a:pt x="190" y="450"/>
                  </a:lnTo>
                  <a:lnTo>
                    <a:pt x="196" y="453"/>
                  </a:lnTo>
                  <a:lnTo>
                    <a:pt x="203" y="459"/>
                  </a:lnTo>
                  <a:lnTo>
                    <a:pt x="209" y="466"/>
                  </a:lnTo>
                  <a:lnTo>
                    <a:pt x="210" y="470"/>
                  </a:lnTo>
                  <a:lnTo>
                    <a:pt x="213" y="472"/>
                  </a:lnTo>
                  <a:lnTo>
                    <a:pt x="216" y="472"/>
                  </a:lnTo>
                  <a:lnTo>
                    <a:pt x="220" y="473"/>
                  </a:lnTo>
                  <a:lnTo>
                    <a:pt x="223" y="476"/>
                  </a:lnTo>
                  <a:lnTo>
                    <a:pt x="229" y="484"/>
                  </a:lnTo>
                  <a:lnTo>
                    <a:pt x="229" y="494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99" name="Ogun"/>
            <p:cNvSpPr>
              <a:spLocks/>
            </p:cNvSpPr>
            <p:nvPr/>
          </p:nvSpPr>
          <p:spPr bwMode="auto">
            <a:xfrm>
              <a:off x="-9642841" y="4692714"/>
              <a:ext cx="936201" cy="795471"/>
            </a:xfrm>
            <a:custGeom>
              <a:avLst/>
              <a:gdLst>
                <a:gd name="T0" fmla="*/ 521 w 579"/>
                <a:gd name="T1" fmla="*/ 480 h 492"/>
                <a:gd name="T2" fmla="*/ 503 w 579"/>
                <a:gd name="T3" fmla="*/ 459 h 492"/>
                <a:gd name="T4" fmla="*/ 466 w 579"/>
                <a:gd name="T5" fmla="*/ 454 h 492"/>
                <a:gd name="T6" fmla="*/ 446 w 579"/>
                <a:gd name="T7" fmla="*/ 437 h 492"/>
                <a:gd name="T8" fmla="*/ 454 w 579"/>
                <a:gd name="T9" fmla="*/ 411 h 492"/>
                <a:gd name="T10" fmla="*/ 417 w 579"/>
                <a:gd name="T11" fmla="*/ 417 h 492"/>
                <a:gd name="T12" fmla="*/ 424 w 579"/>
                <a:gd name="T13" fmla="*/ 393 h 492"/>
                <a:gd name="T14" fmla="*/ 231 w 579"/>
                <a:gd name="T15" fmla="*/ 384 h 492"/>
                <a:gd name="T16" fmla="*/ 210 w 579"/>
                <a:gd name="T17" fmla="*/ 394 h 492"/>
                <a:gd name="T18" fmla="*/ 173 w 579"/>
                <a:gd name="T19" fmla="*/ 380 h 492"/>
                <a:gd name="T20" fmla="*/ 157 w 579"/>
                <a:gd name="T21" fmla="*/ 410 h 492"/>
                <a:gd name="T22" fmla="*/ 67 w 579"/>
                <a:gd name="T23" fmla="*/ 430 h 492"/>
                <a:gd name="T24" fmla="*/ 49 w 579"/>
                <a:gd name="T25" fmla="*/ 447 h 492"/>
                <a:gd name="T26" fmla="*/ 14 w 579"/>
                <a:gd name="T27" fmla="*/ 445 h 492"/>
                <a:gd name="T28" fmla="*/ 21 w 579"/>
                <a:gd name="T29" fmla="*/ 413 h 492"/>
                <a:gd name="T30" fmla="*/ 27 w 579"/>
                <a:gd name="T31" fmla="*/ 384 h 492"/>
                <a:gd name="T32" fmla="*/ 31 w 579"/>
                <a:gd name="T33" fmla="*/ 361 h 492"/>
                <a:gd name="T34" fmla="*/ 20 w 579"/>
                <a:gd name="T35" fmla="*/ 356 h 492"/>
                <a:gd name="T36" fmla="*/ 20 w 579"/>
                <a:gd name="T37" fmla="*/ 328 h 492"/>
                <a:gd name="T38" fmla="*/ 21 w 579"/>
                <a:gd name="T39" fmla="*/ 282 h 492"/>
                <a:gd name="T40" fmla="*/ 33 w 579"/>
                <a:gd name="T41" fmla="*/ 275 h 492"/>
                <a:gd name="T42" fmla="*/ 20 w 579"/>
                <a:gd name="T43" fmla="*/ 258 h 492"/>
                <a:gd name="T44" fmla="*/ 26 w 579"/>
                <a:gd name="T45" fmla="*/ 245 h 492"/>
                <a:gd name="T46" fmla="*/ 22 w 579"/>
                <a:gd name="T47" fmla="*/ 161 h 492"/>
                <a:gd name="T48" fmla="*/ 35 w 579"/>
                <a:gd name="T49" fmla="*/ 160 h 492"/>
                <a:gd name="T50" fmla="*/ 30 w 579"/>
                <a:gd name="T51" fmla="*/ 133 h 492"/>
                <a:gd name="T52" fmla="*/ 16 w 579"/>
                <a:gd name="T53" fmla="*/ 49 h 492"/>
                <a:gd name="T54" fmla="*/ 3 w 579"/>
                <a:gd name="T55" fmla="*/ 23 h 492"/>
                <a:gd name="T56" fmla="*/ 28 w 579"/>
                <a:gd name="T57" fmla="*/ 0 h 492"/>
                <a:gd name="T58" fmla="*/ 72 w 579"/>
                <a:gd name="T59" fmla="*/ 64 h 492"/>
                <a:gd name="T60" fmla="*/ 98 w 579"/>
                <a:gd name="T61" fmla="*/ 36 h 492"/>
                <a:gd name="T62" fmla="*/ 95 w 579"/>
                <a:gd name="T63" fmla="*/ 115 h 492"/>
                <a:gd name="T64" fmla="*/ 153 w 579"/>
                <a:gd name="T65" fmla="*/ 182 h 492"/>
                <a:gd name="T66" fmla="*/ 210 w 579"/>
                <a:gd name="T67" fmla="*/ 147 h 492"/>
                <a:gd name="T68" fmla="*/ 248 w 579"/>
                <a:gd name="T69" fmla="*/ 167 h 492"/>
                <a:gd name="T70" fmla="*/ 306 w 579"/>
                <a:gd name="T71" fmla="*/ 173 h 492"/>
                <a:gd name="T72" fmla="*/ 324 w 579"/>
                <a:gd name="T73" fmla="*/ 206 h 492"/>
                <a:gd name="T74" fmla="*/ 329 w 579"/>
                <a:gd name="T75" fmla="*/ 226 h 492"/>
                <a:gd name="T76" fmla="*/ 331 w 579"/>
                <a:gd name="T77" fmla="*/ 274 h 492"/>
                <a:gd name="T78" fmla="*/ 405 w 579"/>
                <a:gd name="T79" fmla="*/ 256 h 492"/>
                <a:gd name="T80" fmla="*/ 451 w 579"/>
                <a:gd name="T81" fmla="*/ 256 h 492"/>
                <a:gd name="T82" fmla="*/ 491 w 579"/>
                <a:gd name="T83" fmla="*/ 260 h 492"/>
                <a:gd name="T84" fmla="*/ 507 w 579"/>
                <a:gd name="T85" fmla="*/ 288 h 492"/>
                <a:gd name="T86" fmla="*/ 535 w 579"/>
                <a:gd name="T87" fmla="*/ 289 h 492"/>
                <a:gd name="T88" fmla="*/ 563 w 579"/>
                <a:gd name="T89" fmla="*/ 285 h 492"/>
                <a:gd name="T90" fmla="*/ 529 w 579"/>
                <a:gd name="T91" fmla="*/ 357 h 492"/>
                <a:gd name="T92" fmla="*/ 511 w 579"/>
                <a:gd name="T93" fmla="*/ 410 h 492"/>
                <a:gd name="T94" fmla="*/ 545 w 579"/>
                <a:gd name="T95" fmla="*/ 417 h 492"/>
                <a:gd name="T96" fmla="*/ 576 w 579"/>
                <a:gd name="T97" fmla="*/ 406 h 492"/>
                <a:gd name="T98" fmla="*/ 575 w 579"/>
                <a:gd name="T99" fmla="*/ 450 h 492"/>
                <a:gd name="T100" fmla="*/ 540 w 579"/>
                <a:gd name="T101" fmla="*/ 466 h 492"/>
                <a:gd name="T102" fmla="*/ 571 w 579"/>
                <a:gd name="T103" fmla="*/ 487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9" h="492">
                  <a:moveTo>
                    <a:pt x="567" y="492"/>
                  </a:moveTo>
                  <a:lnTo>
                    <a:pt x="548" y="491"/>
                  </a:lnTo>
                  <a:lnTo>
                    <a:pt x="548" y="491"/>
                  </a:lnTo>
                  <a:lnTo>
                    <a:pt x="521" y="480"/>
                  </a:lnTo>
                  <a:lnTo>
                    <a:pt x="503" y="477"/>
                  </a:lnTo>
                  <a:lnTo>
                    <a:pt x="503" y="476"/>
                  </a:lnTo>
                  <a:lnTo>
                    <a:pt x="504" y="468"/>
                  </a:lnTo>
                  <a:lnTo>
                    <a:pt x="503" y="459"/>
                  </a:lnTo>
                  <a:lnTo>
                    <a:pt x="495" y="456"/>
                  </a:lnTo>
                  <a:lnTo>
                    <a:pt x="478" y="456"/>
                  </a:lnTo>
                  <a:lnTo>
                    <a:pt x="471" y="457"/>
                  </a:lnTo>
                  <a:lnTo>
                    <a:pt x="466" y="454"/>
                  </a:lnTo>
                  <a:lnTo>
                    <a:pt x="462" y="450"/>
                  </a:lnTo>
                  <a:lnTo>
                    <a:pt x="453" y="448"/>
                  </a:lnTo>
                  <a:lnTo>
                    <a:pt x="446" y="444"/>
                  </a:lnTo>
                  <a:lnTo>
                    <a:pt x="446" y="437"/>
                  </a:lnTo>
                  <a:lnTo>
                    <a:pt x="463" y="427"/>
                  </a:lnTo>
                  <a:lnTo>
                    <a:pt x="466" y="421"/>
                  </a:lnTo>
                  <a:lnTo>
                    <a:pt x="463" y="414"/>
                  </a:lnTo>
                  <a:lnTo>
                    <a:pt x="454" y="411"/>
                  </a:lnTo>
                  <a:lnTo>
                    <a:pt x="445" y="413"/>
                  </a:lnTo>
                  <a:lnTo>
                    <a:pt x="435" y="420"/>
                  </a:lnTo>
                  <a:lnTo>
                    <a:pt x="426" y="424"/>
                  </a:lnTo>
                  <a:lnTo>
                    <a:pt x="417" y="417"/>
                  </a:lnTo>
                  <a:lnTo>
                    <a:pt x="417" y="413"/>
                  </a:lnTo>
                  <a:lnTo>
                    <a:pt x="414" y="406"/>
                  </a:lnTo>
                  <a:lnTo>
                    <a:pt x="417" y="399"/>
                  </a:lnTo>
                  <a:lnTo>
                    <a:pt x="424" y="393"/>
                  </a:lnTo>
                  <a:lnTo>
                    <a:pt x="427" y="385"/>
                  </a:lnTo>
                  <a:lnTo>
                    <a:pt x="409" y="381"/>
                  </a:lnTo>
                  <a:lnTo>
                    <a:pt x="234" y="382"/>
                  </a:lnTo>
                  <a:lnTo>
                    <a:pt x="231" y="384"/>
                  </a:lnTo>
                  <a:lnTo>
                    <a:pt x="231" y="389"/>
                  </a:lnTo>
                  <a:lnTo>
                    <a:pt x="226" y="393"/>
                  </a:lnTo>
                  <a:lnTo>
                    <a:pt x="220" y="395"/>
                  </a:lnTo>
                  <a:lnTo>
                    <a:pt x="210" y="394"/>
                  </a:lnTo>
                  <a:lnTo>
                    <a:pt x="203" y="385"/>
                  </a:lnTo>
                  <a:lnTo>
                    <a:pt x="190" y="379"/>
                  </a:lnTo>
                  <a:lnTo>
                    <a:pt x="182" y="377"/>
                  </a:lnTo>
                  <a:lnTo>
                    <a:pt x="173" y="380"/>
                  </a:lnTo>
                  <a:lnTo>
                    <a:pt x="171" y="384"/>
                  </a:lnTo>
                  <a:lnTo>
                    <a:pt x="167" y="399"/>
                  </a:lnTo>
                  <a:lnTo>
                    <a:pt x="162" y="404"/>
                  </a:lnTo>
                  <a:lnTo>
                    <a:pt x="157" y="410"/>
                  </a:lnTo>
                  <a:lnTo>
                    <a:pt x="155" y="426"/>
                  </a:lnTo>
                  <a:lnTo>
                    <a:pt x="150" y="430"/>
                  </a:lnTo>
                  <a:lnTo>
                    <a:pt x="132" y="433"/>
                  </a:lnTo>
                  <a:lnTo>
                    <a:pt x="67" y="430"/>
                  </a:lnTo>
                  <a:lnTo>
                    <a:pt x="64" y="432"/>
                  </a:lnTo>
                  <a:lnTo>
                    <a:pt x="64" y="436"/>
                  </a:lnTo>
                  <a:lnTo>
                    <a:pt x="57" y="442"/>
                  </a:lnTo>
                  <a:lnTo>
                    <a:pt x="49" y="447"/>
                  </a:lnTo>
                  <a:lnTo>
                    <a:pt x="42" y="448"/>
                  </a:lnTo>
                  <a:lnTo>
                    <a:pt x="34" y="445"/>
                  </a:lnTo>
                  <a:lnTo>
                    <a:pt x="24" y="446"/>
                  </a:lnTo>
                  <a:lnTo>
                    <a:pt x="14" y="445"/>
                  </a:lnTo>
                  <a:lnTo>
                    <a:pt x="12" y="445"/>
                  </a:lnTo>
                  <a:lnTo>
                    <a:pt x="13" y="439"/>
                  </a:lnTo>
                  <a:lnTo>
                    <a:pt x="20" y="420"/>
                  </a:lnTo>
                  <a:lnTo>
                    <a:pt x="21" y="413"/>
                  </a:lnTo>
                  <a:lnTo>
                    <a:pt x="17" y="401"/>
                  </a:lnTo>
                  <a:lnTo>
                    <a:pt x="17" y="395"/>
                  </a:lnTo>
                  <a:lnTo>
                    <a:pt x="22" y="389"/>
                  </a:lnTo>
                  <a:lnTo>
                    <a:pt x="27" y="384"/>
                  </a:lnTo>
                  <a:lnTo>
                    <a:pt x="31" y="381"/>
                  </a:lnTo>
                  <a:lnTo>
                    <a:pt x="32" y="378"/>
                  </a:lnTo>
                  <a:lnTo>
                    <a:pt x="32" y="364"/>
                  </a:lnTo>
                  <a:lnTo>
                    <a:pt x="31" y="361"/>
                  </a:lnTo>
                  <a:lnTo>
                    <a:pt x="29" y="359"/>
                  </a:lnTo>
                  <a:lnTo>
                    <a:pt x="26" y="359"/>
                  </a:lnTo>
                  <a:lnTo>
                    <a:pt x="22" y="358"/>
                  </a:lnTo>
                  <a:lnTo>
                    <a:pt x="20" y="356"/>
                  </a:lnTo>
                  <a:lnTo>
                    <a:pt x="17" y="353"/>
                  </a:lnTo>
                  <a:lnTo>
                    <a:pt x="15" y="348"/>
                  </a:lnTo>
                  <a:lnTo>
                    <a:pt x="16" y="341"/>
                  </a:lnTo>
                  <a:lnTo>
                    <a:pt x="20" y="328"/>
                  </a:lnTo>
                  <a:lnTo>
                    <a:pt x="18" y="315"/>
                  </a:lnTo>
                  <a:lnTo>
                    <a:pt x="14" y="304"/>
                  </a:lnTo>
                  <a:lnTo>
                    <a:pt x="13" y="294"/>
                  </a:lnTo>
                  <a:lnTo>
                    <a:pt x="21" y="282"/>
                  </a:lnTo>
                  <a:lnTo>
                    <a:pt x="25" y="280"/>
                  </a:lnTo>
                  <a:lnTo>
                    <a:pt x="28" y="279"/>
                  </a:lnTo>
                  <a:lnTo>
                    <a:pt x="32" y="278"/>
                  </a:lnTo>
                  <a:lnTo>
                    <a:pt x="33" y="275"/>
                  </a:lnTo>
                  <a:lnTo>
                    <a:pt x="31" y="272"/>
                  </a:lnTo>
                  <a:lnTo>
                    <a:pt x="23" y="266"/>
                  </a:lnTo>
                  <a:lnTo>
                    <a:pt x="21" y="262"/>
                  </a:lnTo>
                  <a:lnTo>
                    <a:pt x="20" y="258"/>
                  </a:lnTo>
                  <a:lnTo>
                    <a:pt x="20" y="256"/>
                  </a:lnTo>
                  <a:lnTo>
                    <a:pt x="21" y="254"/>
                  </a:lnTo>
                  <a:lnTo>
                    <a:pt x="24" y="248"/>
                  </a:lnTo>
                  <a:lnTo>
                    <a:pt x="26" y="245"/>
                  </a:lnTo>
                  <a:lnTo>
                    <a:pt x="27" y="242"/>
                  </a:lnTo>
                  <a:lnTo>
                    <a:pt x="28" y="238"/>
                  </a:lnTo>
                  <a:lnTo>
                    <a:pt x="21" y="164"/>
                  </a:lnTo>
                  <a:lnTo>
                    <a:pt x="22" y="161"/>
                  </a:lnTo>
                  <a:lnTo>
                    <a:pt x="24" y="159"/>
                  </a:lnTo>
                  <a:lnTo>
                    <a:pt x="28" y="159"/>
                  </a:lnTo>
                  <a:lnTo>
                    <a:pt x="34" y="161"/>
                  </a:lnTo>
                  <a:lnTo>
                    <a:pt x="35" y="160"/>
                  </a:lnTo>
                  <a:lnTo>
                    <a:pt x="35" y="159"/>
                  </a:lnTo>
                  <a:lnTo>
                    <a:pt x="36" y="156"/>
                  </a:lnTo>
                  <a:lnTo>
                    <a:pt x="36" y="143"/>
                  </a:lnTo>
                  <a:lnTo>
                    <a:pt x="30" y="133"/>
                  </a:lnTo>
                  <a:lnTo>
                    <a:pt x="21" y="122"/>
                  </a:lnTo>
                  <a:lnTo>
                    <a:pt x="14" y="110"/>
                  </a:lnTo>
                  <a:lnTo>
                    <a:pt x="13" y="99"/>
                  </a:lnTo>
                  <a:lnTo>
                    <a:pt x="16" y="49"/>
                  </a:lnTo>
                  <a:lnTo>
                    <a:pt x="15" y="45"/>
                  </a:lnTo>
                  <a:lnTo>
                    <a:pt x="13" y="41"/>
                  </a:lnTo>
                  <a:lnTo>
                    <a:pt x="6" y="32"/>
                  </a:lnTo>
                  <a:lnTo>
                    <a:pt x="3" y="23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7"/>
                  </a:lnTo>
                  <a:lnTo>
                    <a:pt x="28" y="0"/>
                  </a:lnTo>
                  <a:lnTo>
                    <a:pt x="57" y="0"/>
                  </a:lnTo>
                  <a:lnTo>
                    <a:pt x="65" y="14"/>
                  </a:lnTo>
                  <a:lnTo>
                    <a:pt x="67" y="48"/>
                  </a:lnTo>
                  <a:lnTo>
                    <a:pt x="72" y="64"/>
                  </a:lnTo>
                  <a:lnTo>
                    <a:pt x="80" y="65"/>
                  </a:lnTo>
                  <a:lnTo>
                    <a:pt x="83" y="50"/>
                  </a:lnTo>
                  <a:lnTo>
                    <a:pt x="87" y="36"/>
                  </a:lnTo>
                  <a:lnTo>
                    <a:pt x="98" y="36"/>
                  </a:lnTo>
                  <a:lnTo>
                    <a:pt x="100" y="63"/>
                  </a:lnTo>
                  <a:lnTo>
                    <a:pt x="89" y="94"/>
                  </a:lnTo>
                  <a:lnTo>
                    <a:pt x="90" y="100"/>
                  </a:lnTo>
                  <a:lnTo>
                    <a:pt x="95" y="115"/>
                  </a:lnTo>
                  <a:lnTo>
                    <a:pt x="109" y="126"/>
                  </a:lnTo>
                  <a:lnTo>
                    <a:pt x="118" y="139"/>
                  </a:lnTo>
                  <a:lnTo>
                    <a:pt x="132" y="163"/>
                  </a:lnTo>
                  <a:lnTo>
                    <a:pt x="153" y="182"/>
                  </a:lnTo>
                  <a:lnTo>
                    <a:pt x="169" y="188"/>
                  </a:lnTo>
                  <a:lnTo>
                    <a:pt x="186" y="187"/>
                  </a:lnTo>
                  <a:lnTo>
                    <a:pt x="198" y="177"/>
                  </a:lnTo>
                  <a:lnTo>
                    <a:pt x="210" y="147"/>
                  </a:lnTo>
                  <a:lnTo>
                    <a:pt x="222" y="139"/>
                  </a:lnTo>
                  <a:lnTo>
                    <a:pt x="234" y="147"/>
                  </a:lnTo>
                  <a:lnTo>
                    <a:pt x="239" y="161"/>
                  </a:lnTo>
                  <a:lnTo>
                    <a:pt x="248" y="167"/>
                  </a:lnTo>
                  <a:lnTo>
                    <a:pt x="256" y="161"/>
                  </a:lnTo>
                  <a:lnTo>
                    <a:pt x="265" y="157"/>
                  </a:lnTo>
                  <a:lnTo>
                    <a:pt x="296" y="158"/>
                  </a:lnTo>
                  <a:lnTo>
                    <a:pt x="306" y="173"/>
                  </a:lnTo>
                  <a:lnTo>
                    <a:pt x="306" y="190"/>
                  </a:lnTo>
                  <a:lnTo>
                    <a:pt x="306" y="195"/>
                  </a:lnTo>
                  <a:lnTo>
                    <a:pt x="316" y="201"/>
                  </a:lnTo>
                  <a:lnTo>
                    <a:pt x="324" y="206"/>
                  </a:lnTo>
                  <a:lnTo>
                    <a:pt x="326" y="212"/>
                  </a:lnTo>
                  <a:lnTo>
                    <a:pt x="326" y="217"/>
                  </a:lnTo>
                  <a:lnTo>
                    <a:pt x="327" y="222"/>
                  </a:lnTo>
                  <a:lnTo>
                    <a:pt x="329" y="226"/>
                  </a:lnTo>
                  <a:lnTo>
                    <a:pt x="332" y="244"/>
                  </a:lnTo>
                  <a:lnTo>
                    <a:pt x="321" y="259"/>
                  </a:lnTo>
                  <a:lnTo>
                    <a:pt x="312" y="273"/>
                  </a:lnTo>
                  <a:lnTo>
                    <a:pt x="331" y="274"/>
                  </a:lnTo>
                  <a:lnTo>
                    <a:pt x="368" y="269"/>
                  </a:lnTo>
                  <a:lnTo>
                    <a:pt x="386" y="264"/>
                  </a:lnTo>
                  <a:lnTo>
                    <a:pt x="395" y="259"/>
                  </a:lnTo>
                  <a:lnTo>
                    <a:pt x="405" y="256"/>
                  </a:lnTo>
                  <a:lnTo>
                    <a:pt x="414" y="255"/>
                  </a:lnTo>
                  <a:lnTo>
                    <a:pt x="423" y="254"/>
                  </a:lnTo>
                  <a:lnTo>
                    <a:pt x="444" y="243"/>
                  </a:lnTo>
                  <a:lnTo>
                    <a:pt x="451" y="256"/>
                  </a:lnTo>
                  <a:lnTo>
                    <a:pt x="453" y="270"/>
                  </a:lnTo>
                  <a:lnTo>
                    <a:pt x="465" y="268"/>
                  </a:lnTo>
                  <a:lnTo>
                    <a:pt x="476" y="261"/>
                  </a:lnTo>
                  <a:lnTo>
                    <a:pt x="491" y="260"/>
                  </a:lnTo>
                  <a:lnTo>
                    <a:pt x="500" y="269"/>
                  </a:lnTo>
                  <a:lnTo>
                    <a:pt x="504" y="276"/>
                  </a:lnTo>
                  <a:lnTo>
                    <a:pt x="507" y="284"/>
                  </a:lnTo>
                  <a:lnTo>
                    <a:pt x="507" y="288"/>
                  </a:lnTo>
                  <a:lnTo>
                    <a:pt x="509" y="293"/>
                  </a:lnTo>
                  <a:lnTo>
                    <a:pt x="517" y="294"/>
                  </a:lnTo>
                  <a:lnTo>
                    <a:pt x="529" y="287"/>
                  </a:lnTo>
                  <a:lnTo>
                    <a:pt x="535" y="289"/>
                  </a:lnTo>
                  <a:lnTo>
                    <a:pt x="541" y="289"/>
                  </a:lnTo>
                  <a:lnTo>
                    <a:pt x="546" y="287"/>
                  </a:lnTo>
                  <a:lnTo>
                    <a:pt x="551" y="286"/>
                  </a:lnTo>
                  <a:lnTo>
                    <a:pt x="563" y="285"/>
                  </a:lnTo>
                  <a:lnTo>
                    <a:pt x="569" y="290"/>
                  </a:lnTo>
                  <a:lnTo>
                    <a:pt x="561" y="330"/>
                  </a:lnTo>
                  <a:lnTo>
                    <a:pt x="556" y="338"/>
                  </a:lnTo>
                  <a:lnTo>
                    <a:pt x="529" y="357"/>
                  </a:lnTo>
                  <a:lnTo>
                    <a:pt x="513" y="373"/>
                  </a:lnTo>
                  <a:lnTo>
                    <a:pt x="506" y="393"/>
                  </a:lnTo>
                  <a:lnTo>
                    <a:pt x="506" y="402"/>
                  </a:lnTo>
                  <a:lnTo>
                    <a:pt x="511" y="410"/>
                  </a:lnTo>
                  <a:lnTo>
                    <a:pt x="515" y="413"/>
                  </a:lnTo>
                  <a:lnTo>
                    <a:pt x="525" y="415"/>
                  </a:lnTo>
                  <a:lnTo>
                    <a:pt x="530" y="416"/>
                  </a:lnTo>
                  <a:lnTo>
                    <a:pt x="545" y="417"/>
                  </a:lnTo>
                  <a:lnTo>
                    <a:pt x="558" y="409"/>
                  </a:lnTo>
                  <a:lnTo>
                    <a:pt x="562" y="402"/>
                  </a:lnTo>
                  <a:lnTo>
                    <a:pt x="571" y="399"/>
                  </a:lnTo>
                  <a:lnTo>
                    <a:pt x="576" y="406"/>
                  </a:lnTo>
                  <a:lnTo>
                    <a:pt x="576" y="428"/>
                  </a:lnTo>
                  <a:lnTo>
                    <a:pt x="579" y="442"/>
                  </a:lnTo>
                  <a:lnTo>
                    <a:pt x="578" y="446"/>
                  </a:lnTo>
                  <a:lnTo>
                    <a:pt x="575" y="450"/>
                  </a:lnTo>
                  <a:lnTo>
                    <a:pt x="570" y="451"/>
                  </a:lnTo>
                  <a:lnTo>
                    <a:pt x="554" y="463"/>
                  </a:lnTo>
                  <a:lnTo>
                    <a:pt x="544" y="464"/>
                  </a:lnTo>
                  <a:lnTo>
                    <a:pt x="540" y="466"/>
                  </a:lnTo>
                  <a:lnTo>
                    <a:pt x="545" y="472"/>
                  </a:lnTo>
                  <a:lnTo>
                    <a:pt x="554" y="472"/>
                  </a:lnTo>
                  <a:lnTo>
                    <a:pt x="571" y="479"/>
                  </a:lnTo>
                  <a:lnTo>
                    <a:pt x="571" y="487"/>
                  </a:lnTo>
                  <a:lnTo>
                    <a:pt x="567" y="492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0" name="Niger"/>
            <p:cNvSpPr>
              <a:spLocks/>
            </p:cNvSpPr>
            <p:nvPr/>
          </p:nvSpPr>
          <p:spPr bwMode="auto">
            <a:xfrm>
              <a:off x="-9206271" y="3043568"/>
              <a:ext cx="1831979" cy="1526270"/>
            </a:xfrm>
            <a:custGeom>
              <a:avLst/>
              <a:gdLst>
                <a:gd name="T0" fmla="*/ 26 w 1133"/>
                <a:gd name="T1" fmla="*/ 353 h 944"/>
                <a:gd name="T2" fmla="*/ 16 w 1133"/>
                <a:gd name="T3" fmla="*/ 290 h 944"/>
                <a:gd name="T4" fmla="*/ 37 w 1133"/>
                <a:gd name="T5" fmla="*/ 274 h 944"/>
                <a:gd name="T6" fmla="*/ 71 w 1133"/>
                <a:gd name="T7" fmla="*/ 247 h 944"/>
                <a:gd name="T8" fmla="*/ 72 w 1133"/>
                <a:gd name="T9" fmla="*/ 192 h 944"/>
                <a:gd name="T10" fmla="*/ 55 w 1133"/>
                <a:gd name="T11" fmla="*/ 170 h 944"/>
                <a:gd name="T12" fmla="*/ 47 w 1133"/>
                <a:gd name="T13" fmla="*/ 101 h 944"/>
                <a:gd name="T14" fmla="*/ 41 w 1133"/>
                <a:gd name="T15" fmla="*/ 68 h 944"/>
                <a:gd name="T16" fmla="*/ 229 w 1133"/>
                <a:gd name="T17" fmla="*/ 101 h 944"/>
                <a:gd name="T18" fmla="*/ 338 w 1133"/>
                <a:gd name="T19" fmla="*/ 194 h 944"/>
                <a:gd name="T20" fmla="*/ 291 w 1133"/>
                <a:gd name="T21" fmla="*/ 247 h 944"/>
                <a:gd name="T22" fmla="*/ 299 w 1133"/>
                <a:gd name="T23" fmla="*/ 324 h 944"/>
                <a:gd name="T24" fmla="*/ 323 w 1133"/>
                <a:gd name="T25" fmla="*/ 355 h 944"/>
                <a:gd name="T26" fmla="*/ 399 w 1133"/>
                <a:gd name="T27" fmla="*/ 304 h 944"/>
                <a:gd name="T28" fmla="*/ 378 w 1133"/>
                <a:gd name="T29" fmla="*/ 202 h 944"/>
                <a:gd name="T30" fmla="*/ 452 w 1133"/>
                <a:gd name="T31" fmla="*/ 161 h 944"/>
                <a:gd name="T32" fmla="*/ 438 w 1133"/>
                <a:gd name="T33" fmla="*/ 91 h 944"/>
                <a:gd name="T34" fmla="*/ 378 w 1133"/>
                <a:gd name="T35" fmla="*/ 69 h 944"/>
                <a:gd name="T36" fmla="*/ 534 w 1133"/>
                <a:gd name="T37" fmla="*/ 11 h 944"/>
                <a:gd name="T38" fmla="*/ 562 w 1133"/>
                <a:gd name="T39" fmla="*/ 104 h 944"/>
                <a:gd name="T40" fmla="*/ 686 w 1133"/>
                <a:gd name="T41" fmla="*/ 89 h 944"/>
                <a:gd name="T42" fmla="*/ 730 w 1133"/>
                <a:gd name="T43" fmla="*/ 65 h 944"/>
                <a:gd name="T44" fmla="*/ 768 w 1133"/>
                <a:gd name="T45" fmla="*/ 155 h 944"/>
                <a:gd name="T46" fmla="*/ 769 w 1133"/>
                <a:gd name="T47" fmla="*/ 217 h 944"/>
                <a:gd name="T48" fmla="*/ 761 w 1133"/>
                <a:gd name="T49" fmla="*/ 254 h 944"/>
                <a:gd name="T50" fmla="*/ 793 w 1133"/>
                <a:gd name="T51" fmla="*/ 295 h 944"/>
                <a:gd name="T52" fmla="*/ 889 w 1133"/>
                <a:gd name="T53" fmla="*/ 233 h 944"/>
                <a:gd name="T54" fmla="*/ 953 w 1133"/>
                <a:gd name="T55" fmla="*/ 229 h 944"/>
                <a:gd name="T56" fmla="*/ 987 w 1133"/>
                <a:gd name="T57" fmla="*/ 248 h 944"/>
                <a:gd name="T58" fmla="*/ 1022 w 1133"/>
                <a:gd name="T59" fmla="*/ 301 h 944"/>
                <a:gd name="T60" fmla="*/ 1024 w 1133"/>
                <a:gd name="T61" fmla="*/ 350 h 944"/>
                <a:gd name="T62" fmla="*/ 1057 w 1133"/>
                <a:gd name="T63" fmla="*/ 403 h 944"/>
                <a:gd name="T64" fmla="*/ 1104 w 1133"/>
                <a:gd name="T65" fmla="*/ 478 h 944"/>
                <a:gd name="T66" fmla="*/ 1122 w 1133"/>
                <a:gd name="T67" fmla="*/ 516 h 944"/>
                <a:gd name="T68" fmla="*/ 1118 w 1133"/>
                <a:gd name="T69" fmla="*/ 552 h 944"/>
                <a:gd name="T70" fmla="*/ 1112 w 1133"/>
                <a:gd name="T71" fmla="*/ 598 h 944"/>
                <a:gd name="T72" fmla="*/ 1083 w 1133"/>
                <a:gd name="T73" fmla="*/ 675 h 944"/>
                <a:gd name="T74" fmla="*/ 958 w 1133"/>
                <a:gd name="T75" fmla="*/ 642 h 944"/>
                <a:gd name="T76" fmla="*/ 978 w 1133"/>
                <a:gd name="T77" fmla="*/ 897 h 944"/>
                <a:gd name="T78" fmla="*/ 953 w 1133"/>
                <a:gd name="T79" fmla="*/ 920 h 944"/>
                <a:gd name="T80" fmla="*/ 934 w 1133"/>
                <a:gd name="T81" fmla="*/ 939 h 944"/>
                <a:gd name="T82" fmla="*/ 873 w 1133"/>
                <a:gd name="T83" fmla="*/ 878 h 944"/>
                <a:gd name="T84" fmla="*/ 856 w 1133"/>
                <a:gd name="T85" fmla="*/ 834 h 944"/>
                <a:gd name="T86" fmla="*/ 838 w 1133"/>
                <a:gd name="T87" fmla="*/ 798 h 944"/>
                <a:gd name="T88" fmla="*/ 796 w 1133"/>
                <a:gd name="T89" fmla="*/ 787 h 944"/>
                <a:gd name="T90" fmla="*/ 726 w 1133"/>
                <a:gd name="T91" fmla="*/ 779 h 944"/>
                <a:gd name="T92" fmla="*/ 671 w 1133"/>
                <a:gd name="T93" fmla="*/ 784 h 944"/>
                <a:gd name="T94" fmla="*/ 652 w 1133"/>
                <a:gd name="T95" fmla="*/ 762 h 944"/>
                <a:gd name="T96" fmla="*/ 616 w 1133"/>
                <a:gd name="T97" fmla="*/ 752 h 944"/>
                <a:gd name="T98" fmla="*/ 596 w 1133"/>
                <a:gd name="T99" fmla="*/ 730 h 944"/>
                <a:gd name="T100" fmla="*/ 567 w 1133"/>
                <a:gd name="T101" fmla="*/ 721 h 944"/>
                <a:gd name="T102" fmla="*/ 526 w 1133"/>
                <a:gd name="T103" fmla="*/ 709 h 944"/>
                <a:gd name="T104" fmla="*/ 487 w 1133"/>
                <a:gd name="T105" fmla="*/ 690 h 944"/>
                <a:gd name="T106" fmla="*/ 455 w 1133"/>
                <a:gd name="T107" fmla="*/ 661 h 944"/>
                <a:gd name="T108" fmla="*/ 424 w 1133"/>
                <a:gd name="T109" fmla="*/ 646 h 944"/>
                <a:gd name="T110" fmla="*/ 356 w 1133"/>
                <a:gd name="T111" fmla="*/ 655 h 944"/>
                <a:gd name="T112" fmla="*/ 329 w 1133"/>
                <a:gd name="T113" fmla="*/ 618 h 944"/>
                <a:gd name="T114" fmla="*/ 316 w 1133"/>
                <a:gd name="T115" fmla="*/ 597 h 944"/>
                <a:gd name="T116" fmla="*/ 288 w 1133"/>
                <a:gd name="T117" fmla="*/ 575 h 944"/>
                <a:gd name="T118" fmla="*/ 244 w 1133"/>
                <a:gd name="T119" fmla="*/ 494 h 944"/>
                <a:gd name="T120" fmla="*/ 57 w 1133"/>
                <a:gd name="T121" fmla="*/ 362 h 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33" h="944">
                  <a:moveTo>
                    <a:pt x="57" y="362"/>
                  </a:moveTo>
                  <a:lnTo>
                    <a:pt x="30" y="366"/>
                  </a:lnTo>
                  <a:lnTo>
                    <a:pt x="28" y="366"/>
                  </a:lnTo>
                  <a:lnTo>
                    <a:pt x="29" y="361"/>
                  </a:lnTo>
                  <a:lnTo>
                    <a:pt x="28" y="356"/>
                  </a:lnTo>
                  <a:lnTo>
                    <a:pt x="26" y="353"/>
                  </a:lnTo>
                  <a:lnTo>
                    <a:pt x="6" y="331"/>
                  </a:lnTo>
                  <a:lnTo>
                    <a:pt x="2" y="325"/>
                  </a:lnTo>
                  <a:lnTo>
                    <a:pt x="0" y="319"/>
                  </a:lnTo>
                  <a:lnTo>
                    <a:pt x="8" y="305"/>
                  </a:lnTo>
                  <a:lnTo>
                    <a:pt x="15" y="294"/>
                  </a:lnTo>
                  <a:lnTo>
                    <a:pt x="16" y="290"/>
                  </a:lnTo>
                  <a:lnTo>
                    <a:pt x="16" y="284"/>
                  </a:lnTo>
                  <a:lnTo>
                    <a:pt x="17" y="282"/>
                  </a:lnTo>
                  <a:lnTo>
                    <a:pt x="19" y="280"/>
                  </a:lnTo>
                  <a:lnTo>
                    <a:pt x="25" y="274"/>
                  </a:lnTo>
                  <a:lnTo>
                    <a:pt x="30" y="272"/>
                  </a:lnTo>
                  <a:lnTo>
                    <a:pt x="37" y="274"/>
                  </a:lnTo>
                  <a:lnTo>
                    <a:pt x="57" y="283"/>
                  </a:lnTo>
                  <a:lnTo>
                    <a:pt x="61" y="282"/>
                  </a:lnTo>
                  <a:lnTo>
                    <a:pt x="66" y="277"/>
                  </a:lnTo>
                  <a:lnTo>
                    <a:pt x="67" y="272"/>
                  </a:lnTo>
                  <a:lnTo>
                    <a:pt x="68" y="255"/>
                  </a:lnTo>
                  <a:lnTo>
                    <a:pt x="71" y="247"/>
                  </a:lnTo>
                  <a:lnTo>
                    <a:pt x="78" y="233"/>
                  </a:lnTo>
                  <a:lnTo>
                    <a:pt x="80" y="225"/>
                  </a:lnTo>
                  <a:lnTo>
                    <a:pt x="80" y="208"/>
                  </a:lnTo>
                  <a:lnTo>
                    <a:pt x="79" y="199"/>
                  </a:lnTo>
                  <a:lnTo>
                    <a:pt x="76" y="194"/>
                  </a:lnTo>
                  <a:lnTo>
                    <a:pt x="72" y="192"/>
                  </a:lnTo>
                  <a:lnTo>
                    <a:pt x="68" y="191"/>
                  </a:lnTo>
                  <a:lnTo>
                    <a:pt x="64" y="190"/>
                  </a:lnTo>
                  <a:lnTo>
                    <a:pt x="61" y="186"/>
                  </a:lnTo>
                  <a:lnTo>
                    <a:pt x="59" y="176"/>
                  </a:lnTo>
                  <a:lnTo>
                    <a:pt x="57" y="173"/>
                  </a:lnTo>
                  <a:lnTo>
                    <a:pt x="55" y="170"/>
                  </a:lnTo>
                  <a:lnTo>
                    <a:pt x="49" y="162"/>
                  </a:lnTo>
                  <a:lnTo>
                    <a:pt x="49" y="157"/>
                  </a:lnTo>
                  <a:lnTo>
                    <a:pt x="55" y="141"/>
                  </a:lnTo>
                  <a:lnTo>
                    <a:pt x="56" y="132"/>
                  </a:lnTo>
                  <a:lnTo>
                    <a:pt x="50" y="106"/>
                  </a:lnTo>
                  <a:lnTo>
                    <a:pt x="47" y="101"/>
                  </a:lnTo>
                  <a:lnTo>
                    <a:pt x="45" y="94"/>
                  </a:lnTo>
                  <a:lnTo>
                    <a:pt x="42" y="88"/>
                  </a:lnTo>
                  <a:lnTo>
                    <a:pt x="42" y="82"/>
                  </a:lnTo>
                  <a:lnTo>
                    <a:pt x="46" y="71"/>
                  </a:lnTo>
                  <a:lnTo>
                    <a:pt x="44" y="68"/>
                  </a:lnTo>
                  <a:lnTo>
                    <a:pt x="41" y="68"/>
                  </a:lnTo>
                  <a:lnTo>
                    <a:pt x="44" y="66"/>
                  </a:lnTo>
                  <a:lnTo>
                    <a:pt x="71" y="69"/>
                  </a:lnTo>
                  <a:lnTo>
                    <a:pt x="98" y="85"/>
                  </a:lnTo>
                  <a:lnTo>
                    <a:pt x="131" y="101"/>
                  </a:lnTo>
                  <a:lnTo>
                    <a:pt x="147" y="103"/>
                  </a:lnTo>
                  <a:lnTo>
                    <a:pt x="229" y="101"/>
                  </a:lnTo>
                  <a:lnTo>
                    <a:pt x="261" y="95"/>
                  </a:lnTo>
                  <a:lnTo>
                    <a:pt x="291" y="104"/>
                  </a:lnTo>
                  <a:lnTo>
                    <a:pt x="327" y="127"/>
                  </a:lnTo>
                  <a:lnTo>
                    <a:pt x="347" y="133"/>
                  </a:lnTo>
                  <a:lnTo>
                    <a:pt x="348" y="141"/>
                  </a:lnTo>
                  <a:lnTo>
                    <a:pt x="338" y="194"/>
                  </a:lnTo>
                  <a:lnTo>
                    <a:pt x="338" y="206"/>
                  </a:lnTo>
                  <a:lnTo>
                    <a:pt x="336" y="210"/>
                  </a:lnTo>
                  <a:lnTo>
                    <a:pt x="334" y="214"/>
                  </a:lnTo>
                  <a:lnTo>
                    <a:pt x="327" y="223"/>
                  </a:lnTo>
                  <a:lnTo>
                    <a:pt x="326" y="228"/>
                  </a:lnTo>
                  <a:lnTo>
                    <a:pt x="291" y="247"/>
                  </a:lnTo>
                  <a:lnTo>
                    <a:pt x="280" y="267"/>
                  </a:lnTo>
                  <a:lnTo>
                    <a:pt x="278" y="289"/>
                  </a:lnTo>
                  <a:lnTo>
                    <a:pt x="279" y="300"/>
                  </a:lnTo>
                  <a:lnTo>
                    <a:pt x="284" y="311"/>
                  </a:lnTo>
                  <a:lnTo>
                    <a:pt x="292" y="317"/>
                  </a:lnTo>
                  <a:lnTo>
                    <a:pt x="299" y="324"/>
                  </a:lnTo>
                  <a:lnTo>
                    <a:pt x="297" y="345"/>
                  </a:lnTo>
                  <a:lnTo>
                    <a:pt x="292" y="368"/>
                  </a:lnTo>
                  <a:lnTo>
                    <a:pt x="299" y="374"/>
                  </a:lnTo>
                  <a:lnTo>
                    <a:pt x="319" y="375"/>
                  </a:lnTo>
                  <a:lnTo>
                    <a:pt x="323" y="367"/>
                  </a:lnTo>
                  <a:lnTo>
                    <a:pt x="323" y="355"/>
                  </a:lnTo>
                  <a:lnTo>
                    <a:pt x="327" y="344"/>
                  </a:lnTo>
                  <a:lnTo>
                    <a:pt x="338" y="341"/>
                  </a:lnTo>
                  <a:lnTo>
                    <a:pt x="372" y="333"/>
                  </a:lnTo>
                  <a:lnTo>
                    <a:pt x="383" y="330"/>
                  </a:lnTo>
                  <a:lnTo>
                    <a:pt x="391" y="324"/>
                  </a:lnTo>
                  <a:lnTo>
                    <a:pt x="399" y="304"/>
                  </a:lnTo>
                  <a:lnTo>
                    <a:pt x="390" y="284"/>
                  </a:lnTo>
                  <a:lnTo>
                    <a:pt x="375" y="266"/>
                  </a:lnTo>
                  <a:lnTo>
                    <a:pt x="373" y="255"/>
                  </a:lnTo>
                  <a:lnTo>
                    <a:pt x="374" y="245"/>
                  </a:lnTo>
                  <a:lnTo>
                    <a:pt x="373" y="223"/>
                  </a:lnTo>
                  <a:lnTo>
                    <a:pt x="378" y="202"/>
                  </a:lnTo>
                  <a:lnTo>
                    <a:pt x="388" y="199"/>
                  </a:lnTo>
                  <a:lnTo>
                    <a:pt x="409" y="202"/>
                  </a:lnTo>
                  <a:lnTo>
                    <a:pt x="429" y="193"/>
                  </a:lnTo>
                  <a:lnTo>
                    <a:pt x="450" y="187"/>
                  </a:lnTo>
                  <a:lnTo>
                    <a:pt x="458" y="181"/>
                  </a:lnTo>
                  <a:lnTo>
                    <a:pt x="452" y="161"/>
                  </a:lnTo>
                  <a:lnTo>
                    <a:pt x="440" y="146"/>
                  </a:lnTo>
                  <a:lnTo>
                    <a:pt x="454" y="127"/>
                  </a:lnTo>
                  <a:lnTo>
                    <a:pt x="453" y="115"/>
                  </a:lnTo>
                  <a:lnTo>
                    <a:pt x="450" y="103"/>
                  </a:lnTo>
                  <a:lnTo>
                    <a:pt x="446" y="94"/>
                  </a:lnTo>
                  <a:lnTo>
                    <a:pt x="438" y="91"/>
                  </a:lnTo>
                  <a:lnTo>
                    <a:pt x="435" y="89"/>
                  </a:lnTo>
                  <a:lnTo>
                    <a:pt x="432" y="84"/>
                  </a:lnTo>
                  <a:lnTo>
                    <a:pt x="428" y="82"/>
                  </a:lnTo>
                  <a:lnTo>
                    <a:pt x="423" y="82"/>
                  </a:lnTo>
                  <a:lnTo>
                    <a:pt x="400" y="78"/>
                  </a:lnTo>
                  <a:lnTo>
                    <a:pt x="378" y="69"/>
                  </a:lnTo>
                  <a:lnTo>
                    <a:pt x="359" y="55"/>
                  </a:lnTo>
                  <a:lnTo>
                    <a:pt x="364" y="36"/>
                  </a:lnTo>
                  <a:lnTo>
                    <a:pt x="405" y="18"/>
                  </a:lnTo>
                  <a:lnTo>
                    <a:pt x="494" y="0"/>
                  </a:lnTo>
                  <a:lnTo>
                    <a:pt x="516" y="1"/>
                  </a:lnTo>
                  <a:lnTo>
                    <a:pt x="534" y="11"/>
                  </a:lnTo>
                  <a:lnTo>
                    <a:pt x="538" y="34"/>
                  </a:lnTo>
                  <a:lnTo>
                    <a:pt x="549" y="52"/>
                  </a:lnTo>
                  <a:lnTo>
                    <a:pt x="559" y="59"/>
                  </a:lnTo>
                  <a:lnTo>
                    <a:pt x="563" y="69"/>
                  </a:lnTo>
                  <a:lnTo>
                    <a:pt x="561" y="92"/>
                  </a:lnTo>
                  <a:lnTo>
                    <a:pt x="562" y="104"/>
                  </a:lnTo>
                  <a:lnTo>
                    <a:pt x="566" y="114"/>
                  </a:lnTo>
                  <a:lnTo>
                    <a:pt x="573" y="117"/>
                  </a:lnTo>
                  <a:lnTo>
                    <a:pt x="604" y="117"/>
                  </a:lnTo>
                  <a:lnTo>
                    <a:pt x="623" y="114"/>
                  </a:lnTo>
                  <a:lnTo>
                    <a:pt x="676" y="91"/>
                  </a:lnTo>
                  <a:lnTo>
                    <a:pt x="686" y="89"/>
                  </a:lnTo>
                  <a:lnTo>
                    <a:pt x="696" y="88"/>
                  </a:lnTo>
                  <a:lnTo>
                    <a:pt x="704" y="82"/>
                  </a:lnTo>
                  <a:lnTo>
                    <a:pt x="707" y="77"/>
                  </a:lnTo>
                  <a:lnTo>
                    <a:pt x="714" y="69"/>
                  </a:lnTo>
                  <a:lnTo>
                    <a:pt x="720" y="66"/>
                  </a:lnTo>
                  <a:lnTo>
                    <a:pt x="730" y="65"/>
                  </a:lnTo>
                  <a:lnTo>
                    <a:pt x="739" y="71"/>
                  </a:lnTo>
                  <a:lnTo>
                    <a:pt x="752" y="87"/>
                  </a:lnTo>
                  <a:lnTo>
                    <a:pt x="775" y="125"/>
                  </a:lnTo>
                  <a:lnTo>
                    <a:pt x="780" y="146"/>
                  </a:lnTo>
                  <a:lnTo>
                    <a:pt x="774" y="149"/>
                  </a:lnTo>
                  <a:lnTo>
                    <a:pt x="768" y="155"/>
                  </a:lnTo>
                  <a:lnTo>
                    <a:pt x="766" y="163"/>
                  </a:lnTo>
                  <a:lnTo>
                    <a:pt x="764" y="188"/>
                  </a:lnTo>
                  <a:lnTo>
                    <a:pt x="764" y="196"/>
                  </a:lnTo>
                  <a:lnTo>
                    <a:pt x="769" y="210"/>
                  </a:lnTo>
                  <a:lnTo>
                    <a:pt x="770" y="214"/>
                  </a:lnTo>
                  <a:lnTo>
                    <a:pt x="769" y="217"/>
                  </a:lnTo>
                  <a:lnTo>
                    <a:pt x="768" y="225"/>
                  </a:lnTo>
                  <a:lnTo>
                    <a:pt x="764" y="235"/>
                  </a:lnTo>
                  <a:lnTo>
                    <a:pt x="763" y="238"/>
                  </a:lnTo>
                  <a:lnTo>
                    <a:pt x="763" y="246"/>
                  </a:lnTo>
                  <a:lnTo>
                    <a:pt x="762" y="250"/>
                  </a:lnTo>
                  <a:lnTo>
                    <a:pt x="761" y="254"/>
                  </a:lnTo>
                  <a:lnTo>
                    <a:pt x="760" y="259"/>
                  </a:lnTo>
                  <a:lnTo>
                    <a:pt x="761" y="270"/>
                  </a:lnTo>
                  <a:lnTo>
                    <a:pt x="771" y="277"/>
                  </a:lnTo>
                  <a:lnTo>
                    <a:pt x="778" y="286"/>
                  </a:lnTo>
                  <a:lnTo>
                    <a:pt x="783" y="296"/>
                  </a:lnTo>
                  <a:lnTo>
                    <a:pt x="793" y="295"/>
                  </a:lnTo>
                  <a:lnTo>
                    <a:pt x="802" y="286"/>
                  </a:lnTo>
                  <a:lnTo>
                    <a:pt x="808" y="277"/>
                  </a:lnTo>
                  <a:lnTo>
                    <a:pt x="823" y="259"/>
                  </a:lnTo>
                  <a:lnTo>
                    <a:pt x="860" y="233"/>
                  </a:lnTo>
                  <a:lnTo>
                    <a:pt x="880" y="228"/>
                  </a:lnTo>
                  <a:lnTo>
                    <a:pt x="889" y="233"/>
                  </a:lnTo>
                  <a:lnTo>
                    <a:pt x="893" y="243"/>
                  </a:lnTo>
                  <a:lnTo>
                    <a:pt x="902" y="244"/>
                  </a:lnTo>
                  <a:lnTo>
                    <a:pt x="923" y="235"/>
                  </a:lnTo>
                  <a:lnTo>
                    <a:pt x="936" y="232"/>
                  </a:lnTo>
                  <a:lnTo>
                    <a:pt x="947" y="234"/>
                  </a:lnTo>
                  <a:lnTo>
                    <a:pt x="953" y="229"/>
                  </a:lnTo>
                  <a:lnTo>
                    <a:pt x="952" y="217"/>
                  </a:lnTo>
                  <a:lnTo>
                    <a:pt x="962" y="213"/>
                  </a:lnTo>
                  <a:lnTo>
                    <a:pt x="973" y="214"/>
                  </a:lnTo>
                  <a:lnTo>
                    <a:pt x="982" y="217"/>
                  </a:lnTo>
                  <a:lnTo>
                    <a:pt x="985" y="224"/>
                  </a:lnTo>
                  <a:lnTo>
                    <a:pt x="987" y="248"/>
                  </a:lnTo>
                  <a:lnTo>
                    <a:pt x="991" y="249"/>
                  </a:lnTo>
                  <a:lnTo>
                    <a:pt x="1002" y="246"/>
                  </a:lnTo>
                  <a:lnTo>
                    <a:pt x="1019" y="259"/>
                  </a:lnTo>
                  <a:lnTo>
                    <a:pt x="1019" y="284"/>
                  </a:lnTo>
                  <a:lnTo>
                    <a:pt x="1016" y="294"/>
                  </a:lnTo>
                  <a:lnTo>
                    <a:pt x="1022" y="301"/>
                  </a:lnTo>
                  <a:lnTo>
                    <a:pt x="1043" y="309"/>
                  </a:lnTo>
                  <a:lnTo>
                    <a:pt x="1053" y="315"/>
                  </a:lnTo>
                  <a:lnTo>
                    <a:pt x="1052" y="325"/>
                  </a:lnTo>
                  <a:lnTo>
                    <a:pt x="1044" y="335"/>
                  </a:lnTo>
                  <a:lnTo>
                    <a:pt x="1034" y="341"/>
                  </a:lnTo>
                  <a:lnTo>
                    <a:pt x="1024" y="350"/>
                  </a:lnTo>
                  <a:lnTo>
                    <a:pt x="1017" y="359"/>
                  </a:lnTo>
                  <a:lnTo>
                    <a:pt x="1006" y="365"/>
                  </a:lnTo>
                  <a:lnTo>
                    <a:pt x="999" y="373"/>
                  </a:lnTo>
                  <a:lnTo>
                    <a:pt x="1013" y="391"/>
                  </a:lnTo>
                  <a:lnTo>
                    <a:pt x="1034" y="400"/>
                  </a:lnTo>
                  <a:lnTo>
                    <a:pt x="1057" y="403"/>
                  </a:lnTo>
                  <a:lnTo>
                    <a:pt x="1102" y="402"/>
                  </a:lnTo>
                  <a:lnTo>
                    <a:pt x="1116" y="412"/>
                  </a:lnTo>
                  <a:lnTo>
                    <a:pt x="1121" y="460"/>
                  </a:lnTo>
                  <a:lnTo>
                    <a:pt x="1121" y="470"/>
                  </a:lnTo>
                  <a:lnTo>
                    <a:pt x="1113" y="477"/>
                  </a:lnTo>
                  <a:lnTo>
                    <a:pt x="1104" y="478"/>
                  </a:lnTo>
                  <a:lnTo>
                    <a:pt x="1098" y="483"/>
                  </a:lnTo>
                  <a:lnTo>
                    <a:pt x="1104" y="491"/>
                  </a:lnTo>
                  <a:lnTo>
                    <a:pt x="1114" y="494"/>
                  </a:lnTo>
                  <a:lnTo>
                    <a:pt x="1120" y="499"/>
                  </a:lnTo>
                  <a:lnTo>
                    <a:pt x="1118" y="507"/>
                  </a:lnTo>
                  <a:lnTo>
                    <a:pt x="1122" y="516"/>
                  </a:lnTo>
                  <a:lnTo>
                    <a:pt x="1131" y="520"/>
                  </a:lnTo>
                  <a:lnTo>
                    <a:pt x="1133" y="530"/>
                  </a:lnTo>
                  <a:lnTo>
                    <a:pt x="1126" y="537"/>
                  </a:lnTo>
                  <a:lnTo>
                    <a:pt x="1122" y="541"/>
                  </a:lnTo>
                  <a:lnTo>
                    <a:pt x="1119" y="546"/>
                  </a:lnTo>
                  <a:lnTo>
                    <a:pt x="1118" y="552"/>
                  </a:lnTo>
                  <a:lnTo>
                    <a:pt x="1116" y="558"/>
                  </a:lnTo>
                  <a:lnTo>
                    <a:pt x="1100" y="569"/>
                  </a:lnTo>
                  <a:lnTo>
                    <a:pt x="1098" y="581"/>
                  </a:lnTo>
                  <a:lnTo>
                    <a:pt x="1104" y="589"/>
                  </a:lnTo>
                  <a:lnTo>
                    <a:pt x="1108" y="592"/>
                  </a:lnTo>
                  <a:lnTo>
                    <a:pt x="1112" y="598"/>
                  </a:lnTo>
                  <a:lnTo>
                    <a:pt x="1112" y="604"/>
                  </a:lnTo>
                  <a:lnTo>
                    <a:pt x="1109" y="612"/>
                  </a:lnTo>
                  <a:lnTo>
                    <a:pt x="1110" y="617"/>
                  </a:lnTo>
                  <a:lnTo>
                    <a:pt x="1118" y="615"/>
                  </a:lnTo>
                  <a:lnTo>
                    <a:pt x="1125" y="616"/>
                  </a:lnTo>
                  <a:lnTo>
                    <a:pt x="1083" y="675"/>
                  </a:lnTo>
                  <a:lnTo>
                    <a:pt x="1081" y="676"/>
                  </a:lnTo>
                  <a:lnTo>
                    <a:pt x="1067" y="668"/>
                  </a:lnTo>
                  <a:lnTo>
                    <a:pt x="1038" y="642"/>
                  </a:lnTo>
                  <a:lnTo>
                    <a:pt x="1021" y="636"/>
                  </a:lnTo>
                  <a:lnTo>
                    <a:pt x="965" y="638"/>
                  </a:lnTo>
                  <a:lnTo>
                    <a:pt x="958" y="642"/>
                  </a:lnTo>
                  <a:lnTo>
                    <a:pt x="956" y="650"/>
                  </a:lnTo>
                  <a:lnTo>
                    <a:pt x="959" y="865"/>
                  </a:lnTo>
                  <a:lnTo>
                    <a:pt x="961" y="870"/>
                  </a:lnTo>
                  <a:lnTo>
                    <a:pt x="969" y="882"/>
                  </a:lnTo>
                  <a:lnTo>
                    <a:pt x="982" y="884"/>
                  </a:lnTo>
                  <a:lnTo>
                    <a:pt x="978" y="897"/>
                  </a:lnTo>
                  <a:lnTo>
                    <a:pt x="970" y="905"/>
                  </a:lnTo>
                  <a:lnTo>
                    <a:pt x="963" y="907"/>
                  </a:lnTo>
                  <a:lnTo>
                    <a:pt x="958" y="911"/>
                  </a:lnTo>
                  <a:lnTo>
                    <a:pt x="958" y="918"/>
                  </a:lnTo>
                  <a:lnTo>
                    <a:pt x="957" y="923"/>
                  </a:lnTo>
                  <a:lnTo>
                    <a:pt x="953" y="920"/>
                  </a:lnTo>
                  <a:lnTo>
                    <a:pt x="949" y="923"/>
                  </a:lnTo>
                  <a:lnTo>
                    <a:pt x="946" y="931"/>
                  </a:lnTo>
                  <a:lnTo>
                    <a:pt x="944" y="939"/>
                  </a:lnTo>
                  <a:lnTo>
                    <a:pt x="939" y="944"/>
                  </a:lnTo>
                  <a:lnTo>
                    <a:pt x="938" y="942"/>
                  </a:lnTo>
                  <a:lnTo>
                    <a:pt x="934" y="939"/>
                  </a:lnTo>
                  <a:lnTo>
                    <a:pt x="934" y="937"/>
                  </a:lnTo>
                  <a:lnTo>
                    <a:pt x="930" y="934"/>
                  </a:lnTo>
                  <a:lnTo>
                    <a:pt x="918" y="923"/>
                  </a:lnTo>
                  <a:lnTo>
                    <a:pt x="907" y="904"/>
                  </a:lnTo>
                  <a:lnTo>
                    <a:pt x="903" y="901"/>
                  </a:lnTo>
                  <a:lnTo>
                    <a:pt x="873" y="878"/>
                  </a:lnTo>
                  <a:lnTo>
                    <a:pt x="871" y="876"/>
                  </a:lnTo>
                  <a:lnTo>
                    <a:pt x="864" y="863"/>
                  </a:lnTo>
                  <a:lnTo>
                    <a:pt x="860" y="848"/>
                  </a:lnTo>
                  <a:lnTo>
                    <a:pt x="860" y="839"/>
                  </a:lnTo>
                  <a:lnTo>
                    <a:pt x="859" y="837"/>
                  </a:lnTo>
                  <a:lnTo>
                    <a:pt x="856" y="834"/>
                  </a:lnTo>
                  <a:lnTo>
                    <a:pt x="856" y="831"/>
                  </a:lnTo>
                  <a:lnTo>
                    <a:pt x="851" y="822"/>
                  </a:lnTo>
                  <a:lnTo>
                    <a:pt x="850" y="820"/>
                  </a:lnTo>
                  <a:lnTo>
                    <a:pt x="850" y="815"/>
                  </a:lnTo>
                  <a:lnTo>
                    <a:pt x="843" y="801"/>
                  </a:lnTo>
                  <a:lnTo>
                    <a:pt x="838" y="798"/>
                  </a:lnTo>
                  <a:lnTo>
                    <a:pt x="833" y="795"/>
                  </a:lnTo>
                  <a:lnTo>
                    <a:pt x="827" y="794"/>
                  </a:lnTo>
                  <a:lnTo>
                    <a:pt x="817" y="787"/>
                  </a:lnTo>
                  <a:lnTo>
                    <a:pt x="815" y="785"/>
                  </a:lnTo>
                  <a:lnTo>
                    <a:pt x="809" y="784"/>
                  </a:lnTo>
                  <a:lnTo>
                    <a:pt x="796" y="787"/>
                  </a:lnTo>
                  <a:lnTo>
                    <a:pt x="779" y="790"/>
                  </a:lnTo>
                  <a:lnTo>
                    <a:pt x="777" y="789"/>
                  </a:lnTo>
                  <a:lnTo>
                    <a:pt x="768" y="781"/>
                  </a:lnTo>
                  <a:lnTo>
                    <a:pt x="764" y="779"/>
                  </a:lnTo>
                  <a:lnTo>
                    <a:pt x="759" y="778"/>
                  </a:lnTo>
                  <a:lnTo>
                    <a:pt x="726" y="779"/>
                  </a:lnTo>
                  <a:lnTo>
                    <a:pt x="719" y="780"/>
                  </a:lnTo>
                  <a:lnTo>
                    <a:pt x="708" y="785"/>
                  </a:lnTo>
                  <a:lnTo>
                    <a:pt x="705" y="785"/>
                  </a:lnTo>
                  <a:lnTo>
                    <a:pt x="701" y="785"/>
                  </a:lnTo>
                  <a:lnTo>
                    <a:pt x="688" y="783"/>
                  </a:lnTo>
                  <a:lnTo>
                    <a:pt x="671" y="784"/>
                  </a:lnTo>
                  <a:lnTo>
                    <a:pt x="668" y="782"/>
                  </a:lnTo>
                  <a:lnTo>
                    <a:pt x="666" y="780"/>
                  </a:lnTo>
                  <a:lnTo>
                    <a:pt x="663" y="775"/>
                  </a:lnTo>
                  <a:lnTo>
                    <a:pt x="658" y="769"/>
                  </a:lnTo>
                  <a:lnTo>
                    <a:pt x="655" y="762"/>
                  </a:lnTo>
                  <a:lnTo>
                    <a:pt x="652" y="762"/>
                  </a:lnTo>
                  <a:lnTo>
                    <a:pt x="646" y="759"/>
                  </a:lnTo>
                  <a:lnTo>
                    <a:pt x="643" y="759"/>
                  </a:lnTo>
                  <a:lnTo>
                    <a:pt x="626" y="759"/>
                  </a:lnTo>
                  <a:lnTo>
                    <a:pt x="621" y="757"/>
                  </a:lnTo>
                  <a:lnTo>
                    <a:pt x="617" y="754"/>
                  </a:lnTo>
                  <a:lnTo>
                    <a:pt x="616" y="752"/>
                  </a:lnTo>
                  <a:lnTo>
                    <a:pt x="613" y="747"/>
                  </a:lnTo>
                  <a:lnTo>
                    <a:pt x="611" y="744"/>
                  </a:lnTo>
                  <a:lnTo>
                    <a:pt x="608" y="741"/>
                  </a:lnTo>
                  <a:lnTo>
                    <a:pt x="602" y="736"/>
                  </a:lnTo>
                  <a:lnTo>
                    <a:pt x="598" y="731"/>
                  </a:lnTo>
                  <a:lnTo>
                    <a:pt x="596" y="730"/>
                  </a:lnTo>
                  <a:lnTo>
                    <a:pt x="592" y="727"/>
                  </a:lnTo>
                  <a:lnTo>
                    <a:pt x="587" y="726"/>
                  </a:lnTo>
                  <a:lnTo>
                    <a:pt x="583" y="724"/>
                  </a:lnTo>
                  <a:lnTo>
                    <a:pt x="574" y="724"/>
                  </a:lnTo>
                  <a:lnTo>
                    <a:pt x="571" y="723"/>
                  </a:lnTo>
                  <a:lnTo>
                    <a:pt x="567" y="721"/>
                  </a:lnTo>
                  <a:lnTo>
                    <a:pt x="563" y="718"/>
                  </a:lnTo>
                  <a:lnTo>
                    <a:pt x="558" y="713"/>
                  </a:lnTo>
                  <a:lnTo>
                    <a:pt x="555" y="711"/>
                  </a:lnTo>
                  <a:lnTo>
                    <a:pt x="551" y="709"/>
                  </a:lnTo>
                  <a:lnTo>
                    <a:pt x="546" y="708"/>
                  </a:lnTo>
                  <a:lnTo>
                    <a:pt x="526" y="709"/>
                  </a:lnTo>
                  <a:lnTo>
                    <a:pt x="497" y="704"/>
                  </a:lnTo>
                  <a:lnTo>
                    <a:pt x="493" y="703"/>
                  </a:lnTo>
                  <a:lnTo>
                    <a:pt x="489" y="701"/>
                  </a:lnTo>
                  <a:lnTo>
                    <a:pt x="487" y="697"/>
                  </a:lnTo>
                  <a:lnTo>
                    <a:pt x="487" y="694"/>
                  </a:lnTo>
                  <a:lnTo>
                    <a:pt x="487" y="690"/>
                  </a:lnTo>
                  <a:lnTo>
                    <a:pt x="487" y="687"/>
                  </a:lnTo>
                  <a:lnTo>
                    <a:pt x="486" y="684"/>
                  </a:lnTo>
                  <a:lnTo>
                    <a:pt x="481" y="678"/>
                  </a:lnTo>
                  <a:lnTo>
                    <a:pt x="476" y="671"/>
                  </a:lnTo>
                  <a:lnTo>
                    <a:pt x="471" y="668"/>
                  </a:lnTo>
                  <a:lnTo>
                    <a:pt x="455" y="661"/>
                  </a:lnTo>
                  <a:lnTo>
                    <a:pt x="445" y="654"/>
                  </a:lnTo>
                  <a:lnTo>
                    <a:pt x="440" y="652"/>
                  </a:lnTo>
                  <a:lnTo>
                    <a:pt x="440" y="650"/>
                  </a:lnTo>
                  <a:lnTo>
                    <a:pt x="432" y="647"/>
                  </a:lnTo>
                  <a:lnTo>
                    <a:pt x="428" y="646"/>
                  </a:lnTo>
                  <a:lnTo>
                    <a:pt x="424" y="646"/>
                  </a:lnTo>
                  <a:lnTo>
                    <a:pt x="405" y="652"/>
                  </a:lnTo>
                  <a:lnTo>
                    <a:pt x="391" y="659"/>
                  </a:lnTo>
                  <a:lnTo>
                    <a:pt x="378" y="663"/>
                  </a:lnTo>
                  <a:lnTo>
                    <a:pt x="370" y="664"/>
                  </a:lnTo>
                  <a:lnTo>
                    <a:pt x="361" y="661"/>
                  </a:lnTo>
                  <a:lnTo>
                    <a:pt x="356" y="655"/>
                  </a:lnTo>
                  <a:lnTo>
                    <a:pt x="356" y="647"/>
                  </a:lnTo>
                  <a:lnTo>
                    <a:pt x="357" y="637"/>
                  </a:lnTo>
                  <a:lnTo>
                    <a:pt x="357" y="629"/>
                  </a:lnTo>
                  <a:lnTo>
                    <a:pt x="353" y="623"/>
                  </a:lnTo>
                  <a:lnTo>
                    <a:pt x="345" y="620"/>
                  </a:lnTo>
                  <a:lnTo>
                    <a:pt x="329" y="618"/>
                  </a:lnTo>
                  <a:lnTo>
                    <a:pt x="325" y="616"/>
                  </a:lnTo>
                  <a:lnTo>
                    <a:pt x="320" y="612"/>
                  </a:lnTo>
                  <a:lnTo>
                    <a:pt x="317" y="608"/>
                  </a:lnTo>
                  <a:lnTo>
                    <a:pt x="317" y="604"/>
                  </a:lnTo>
                  <a:lnTo>
                    <a:pt x="317" y="597"/>
                  </a:lnTo>
                  <a:lnTo>
                    <a:pt x="316" y="597"/>
                  </a:lnTo>
                  <a:lnTo>
                    <a:pt x="316" y="597"/>
                  </a:lnTo>
                  <a:lnTo>
                    <a:pt x="315" y="598"/>
                  </a:lnTo>
                  <a:lnTo>
                    <a:pt x="316" y="592"/>
                  </a:lnTo>
                  <a:lnTo>
                    <a:pt x="315" y="581"/>
                  </a:lnTo>
                  <a:lnTo>
                    <a:pt x="315" y="579"/>
                  </a:lnTo>
                  <a:lnTo>
                    <a:pt x="288" y="575"/>
                  </a:lnTo>
                  <a:lnTo>
                    <a:pt x="266" y="578"/>
                  </a:lnTo>
                  <a:lnTo>
                    <a:pt x="256" y="561"/>
                  </a:lnTo>
                  <a:lnTo>
                    <a:pt x="257" y="538"/>
                  </a:lnTo>
                  <a:lnTo>
                    <a:pt x="260" y="514"/>
                  </a:lnTo>
                  <a:lnTo>
                    <a:pt x="255" y="494"/>
                  </a:lnTo>
                  <a:lnTo>
                    <a:pt x="244" y="494"/>
                  </a:lnTo>
                  <a:lnTo>
                    <a:pt x="239" y="491"/>
                  </a:lnTo>
                  <a:lnTo>
                    <a:pt x="235" y="488"/>
                  </a:lnTo>
                  <a:lnTo>
                    <a:pt x="134" y="370"/>
                  </a:lnTo>
                  <a:lnTo>
                    <a:pt x="125" y="363"/>
                  </a:lnTo>
                  <a:lnTo>
                    <a:pt x="105" y="360"/>
                  </a:lnTo>
                  <a:lnTo>
                    <a:pt x="57" y="362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1" name="Nasarawa"/>
            <p:cNvSpPr>
              <a:spLocks/>
            </p:cNvSpPr>
            <p:nvPr/>
          </p:nvSpPr>
          <p:spPr bwMode="auto">
            <a:xfrm>
              <a:off x="-7566707" y="4016887"/>
              <a:ext cx="1301627" cy="763135"/>
            </a:xfrm>
            <a:custGeom>
              <a:avLst/>
              <a:gdLst>
                <a:gd name="T0" fmla="*/ 805 w 805"/>
                <a:gd name="T1" fmla="*/ 299 h 472"/>
                <a:gd name="T2" fmla="*/ 775 w 805"/>
                <a:gd name="T3" fmla="*/ 320 h 472"/>
                <a:gd name="T4" fmla="*/ 749 w 805"/>
                <a:gd name="T5" fmla="*/ 315 h 472"/>
                <a:gd name="T6" fmla="*/ 720 w 805"/>
                <a:gd name="T7" fmla="*/ 309 h 472"/>
                <a:gd name="T8" fmla="*/ 711 w 805"/>
                <a:gd name="T9" fmla="*/ 332 h 472"/>
                <a:gd name="T10" fmla="*/ 727 w 805"/>
                <a:gd name="T11" fmla="*/ 373 h 472"/>
                <a:gd name="T12" fmla="*/ 724 w 805"/>
                <a:gd name="T13" fmla="*/ 393 h 472"/>
                <a:gd name="T14" fmla="*/ 612 w 805"/>
                <a:gd name="T15" fmla="*/ 388 h 472"/>
                <a:gd name="T16" fmla="*/ 569 w 805"/>
                <a:gd name="T17" fmla="*/ 389 h 472"/>
                <a:gd name="T18" fmla="*/ 446 w 805"/>
                <a:gd name="T19" fmla="*/ 368 h 472"/>
                <a:gd name="T20" fmla="*/ 432 w 805"/>
                <a:gd name="T21" fmla="*/ 426 h 472"/>
                <a:gd name="T22" fmla="*/ 444 w 805"/>
                <a:gd name="T23" fmla="*/ 472 h 472"/>
                <a:gd name="T24" fmla="*/ 435 w 805"/>
                <a:gd name="T25" fmla="*/ 469 h 472"/>
                <a:gd name="T26" fmla="*/ 406 w 805"/>
                <a:gd name="T27" fmla="*/ 448 h 472"/>
                <a:gd name="T28" fmla="*/ 379 w 805"/>
                <a:gd name="T29" fmla="*/ 442 h 472"/>
                <a:gd name="T30" fmla="*/ 329 w 805"/>
                <a:gd name="T31" fmla="*/ 426 h 472"/>
                <a:gd name="T32" fmla="*/ 299 w 805"/>
                <a:gd name="T33" fmla="*/ 412 h 472"/>
                <a:gd name="T34" fmla="*/ 253 w 805"/>
                <a:gd name="T35" fmla="*/ 403 h 472"/>
                <a:gd name="T36" fmla="*/ 215 w 805"/>
                <a:gd name="T37" fmla="*/ 396 h 472"/>
                <a:gd name="T38" fmla="*/ 114 w 805"/>
                <a:gd name="T39" fmla="*/ 395 h 472"/>
                <a:gd name="T40" fmla="*/ 27 w 805"/>
                <a:gd name="T41" fmla="*/ 426 h 472"/>
                <a:gd name="T42" fmla="*/ 19 w 805"/>
                <a:gd name="T43" fmla="*/ 434 h 472"/>
                <a:gd name="T44" fmla="*/ 0 w 805"/>
                <a:gd name="T45" fmla="*/ 442 h 472"/>
                <a:gd name="T46" fmla="*/ 9 w 805"/>
                <a:gd name="T47" fmla="*/ 409 h 472"/>
                <a:gd name="T48" fmla="*/ 16 w 805"/>
                <a:gd name="T49" fmla="*/ 336 h 472"/>
                <a:gd name="T50" fmla="*/ 11 w 805"/>
                <a:gd name="T51" fmla="*/ 280 h 472"/>
                <a:gd name="T52" fmla="*/ 136 w 805"/>
                <a:gd name="T53" fmla="*/ 243 h 472"/>
                <a:gd name="T54" fmla="*/ 173 w 805"/>
                <a:gd name="T55" fmla="*/ 176 h 472"/>
                <a:gd name="T56" fmla="*/ 186 w 805"/>
                <a:gd name="T57" fmla="*/ 67 h 472"/>
                <a:gd name="T58" fmla="*/ 202 w 805"/>
                <a:gd name="T59" fmla="*/ 24 h 472"/>
                <a:gd name="T60" fmla="*/ 206 w 805"/>
                <a:gd name="T61" fmla="*/ 10 h 472"/>
                <a:gd name="T62" fmla="*/ 226 w 805"/>
                <a:gd name="T63" fmla="*/ 18 h 472"/>
                <a:gd name="T64" fmla="*/ 248 w 805"/>
                <a:gd name="T65" fmla="*/ 24 h 472"/>
                <a:gd name="T66" fmla="*/ 285 w 805"/>
                <a:gd name="T67" fmla="*/ 3 h 472"/>
                <a:gd name="T68" fmla="*/ 316 w 805"/>
                <a:gd name="T69" fmla="*/ 16 h 472"/>
                <a:gd name="T70" fmla="*/ 338 w 805"/>
                <a:gd name="T71" fmla="*/ 38 h 472"/>
                <a:gd name="T72" fmla="*/ 372 w 805"/>
                <a:gd name="T73" fmla="*/ 90 h 472"/>
                <a:gd name="T74" fmla="*/ 407 w 805"/>
                <a:gd name="T75" fmla="*/ 61 h 472"/>
                <a:gd name="T76" fmla="*/ 452 w 805"/>
                <a:gd name="T77" fmla="*/ 90 h 472"/>
                <a:gd name="T78" fmla="*/ 476 w 805"/>
                <a:gd name="T79" fmla="*/ 102 h 472"/>
                <a:gd name="T80" fmla="*/ 506 w 805"/>
                <a:gd name="T81" fmla="*/ 55 h 472"/>
                <a:gd name="T82" fmla="*/ 549 w 805"/>
                <a:gd name="T83" fmla="*/ 61 h 472"/>
                <a:gd name="T84" fmla="*/ 588 w 805"/>
                <a:gd name="T85" fmla="*/ 100 h 472"/>
                <a:gd name="T86" fmla="*/ 618 w 805"/>
                <a:gd name="T87" fmla="*/ 97 h 472"/>
                <a:gd name="T88" fmla="*/ 641 w 805"/>
                <a:gd name="T89" fmla="*/ 107 h 472"/>
                <a:gd name="T90" fmla="*/ 622 w 805"/>
                <a:gd name="T91" fmla="*/ 143 h 472"/>
                <a:gd name="T92" fmla="*/ 597 w 805"/>
                <a:gd name="T93" fmla="*/ 163 h 472"/>
                <a:gd name="T94" fmla="*/ 591 w 805"/>
                <a:gd name="T95" fmla="*/ 200 h 472"/>
                <a:gd name="T96" fmla="*/ 598 w 805"/>
                <a:gd name="T97" fmla="*/ 237 h 472"/>
                <a:gd name="T98" fmla="*/ 648 w 805"/>
                <a:gd name="T99" fmla="*/ 268 h 472"/>
                <a:gd name="T100" fmla="*/ 723 w 805"/>
                <a:gd name="T101" fmla="*/ 258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05" h="472">
                  <a:moveTo>
                    <a:pt x="777" y="273"/>
                  </a:moveTo>
                  <a:lnTo>
                    <a:pt x="794" y="283"/>
                  </a:lnTo>
                  <a:lnTo>
                    <a:pt x="805" y="299"/>
                  </a:lnTo>
                  <a:lnTo>
                    <a:pt x="797" y="312"/>
                  </a:lnTo>
                  <a:lnTo>
                    <a:pt x="784" y="319"/>
                  </a:lnTo>
                  <a:lnTo>
                    <a:pt x="775" y="320"/>
                  </a:lnTo>
                  <a:lnTo>
                    <a:pt x="767" y="319"/>
                  </a:lnTo>
                  <a:lnTo>
                    <a:pt x="758" y="316"/>
                  </a:lnTo>
                  <a:lnTo>
                    <a:pt x="749" y="315"/>
                  </a:lnTo>
                  <a:lnTo>
                    <a:pt x="742" y="311"/>
                  </a:lnTo>
                  <a:lnTo>
                    <a:pt x="727" y="306"/>
                  </a:lnTo>
                  <a:lnTo>
                    <a:pt x="720" y="309"/>
                  </a:lnTo>
                  <a:lnTo>
                    <a:pt x="715" y="316"/>
                  </a:lnTo>
                  <a:lnTo>
                    <a:pt x="712" y="323"/>
                  </a:lnTo>
                  <a:lnTo>
                    <a:pt x="711" y="332"/>
                  </a:lnTo>
                  <a:lnTo>
                    <a:pt x="727" y="353"/>
                  </a:lnTo>
                  <a:lnTo>
                    <a:pt x="727" y="368"/>
                  </a:lnTo>
                  <a:lnTo>
                    <a:pt x="727" y="373"/>
                  </a:lnTo>
                  <a:lnTo>
                    <a:pt x="729" y="379"/>
                  </a:lnTo>
                  <a:lnTo>
                    <a:pt x="730" y="387"/>
                  </a:lnTo>
                  <a:lnTo>
                    <a:pt x="724" y="393"/>
                  </a:lnTo>
                  <a:lnTo>
                    <a:pt x="681" y="422"/>
                  </a:lnTo>
                  <a:lnTo>
                    <a:pt x="670" y="430"/>
                  </a:lnTo>
                  <a:lnTo>
                    <a:pt x="612" y="388"/>
                  </a:lnTo>
                  <a:lnTo>
                    <a:pt x="612" y="389"/>
                  </a:lnTo>
                  <a:lnTo>
                    <a:pt x="602" y="391"/>
                  </a:lnTo>
                  <a:lnTo>
                    <a:pt x="569" y="389"/>
                  </a:lnTo>
                  <a:lnTo>
                    <a:pt x="547" y="385"/>
                  </a:lnTo>
                  <a:lnTo>
                    <a:pt x="486" y="364"/>
                  </a:lnTo>
                  <a:lnTo>
                    <a:pt x="446" y="368"/>
                  </a:lnTo>
                  <a:lnTo>
                    <a:pt x="430" y="383"/>
                  </a:lnTo>
                  <a:lnTo>
                    <a:pt x="425" y="404"/>
                  </a:lnTo>
                  <a:lnTo>
                    <a:pt x="432" y="426"/>
                  </a:lnTo>
                  <a:lnTo>
                    <a:pt x="446" y="456"/>
                  </a:lnTo>
                  <a:lnTo>
                    <a:pt x="448" y="467"/>
                  </a:lnTo>
                  <a:lnTo>
                    <a:pt x="444" y="472"/>
                  </a:lnTo>
                  <a:lnTo>
                    <a:pt x="442" y="472"/>
                  </a:lnTo>
                  <a:lnTo>
                    <a:pt x="438" y="471"/>
                  </a:lnTo>
                  <a:lnTo>
                    <a:pt x="435" y="469"/>
                  </a:lnTo>
                  <a:lnTo>
                    <a:pt x="428" y="463"/>
                  </a:lnTo>
                  <a:lnTo>
                    <a:pt x="413" y="455"/>
                  </a:lnTo>
                  <a:lnTo>
                    <a:pt x="406" y="448"/>
                  </a:lnTo>
                  <a:lnTo>
                    <a:pt x="398" y="445"/>
                  </a:lnTo>
                  <a:lnTo>
                    <a:pt x="388" y="444"/>
                  </a:lnTo>
                  <a:lnTo>
                    <a:pt x="379" y="442"/>
                  </a:lnTo>
                  <a:lnTo>
                    <a:pt x="362" y="433"/>
                  </a:lnTo>
                  <a:lnTo>
                    <a:pt x="354" y="430"/>
                  </a:lnTo>
                  <a:lnTo>
                    <a:pt x="329" y="426"/>
                  </a:lnTo>
                  <a:lnTo>
                    <a:pt x="324" y="424"/>
                  </a:lnTo>
                  <a:lnTo>
                    <a:pt x="309" y="415"/>
                  </a:lnTo>
                  <a:lnTo>
                    <a:pt x="299" y="412"/>
                  </a:lnTo>
                  <a:lnTo>
                    <a:pt x="277" y="409"/>
                  </a:lnTo>
                  <a:lnTo>
                    <a:pt x="267" y="407"/>
                  </a:lnTo>
                  <a:lnTo>
                    <a:pt x="253" y="403"/>
                  </a:lnTo>
                  <a:lnTo>
                    <a:pt x="233" y="400"/>
                  </a:lnTo>
                  <a:lnTo>
                    <a:pt x="218" y="397"/>
                  </a:lnTo>
                  <a:lnTo>
                    <a:pt x="215" y="396"/>
                  </a:lnTo>
                  <a:lnTo>
                    <a:pt x="209" y="395"/>
                  </a:lnTo>
                  <a:lnTo>
                    <a:pt x="167" y="399"/>
                  </a:lnTo>
                  <a:lnTo>
                    <a:pt x="114" y="395"/>
                  </a:lnTo>
                  <a:lnTo>
                    <a:pt x="104" y="396"/>
                  </a:lnTo>
                  <a:lnTo>
                    <a:pt x="43" y="416"/>
                  </a:lnTo>
                  <a:lnTo>
                    <a:pt x="27" y="426"/>
                  </a:lnTo>
                  <a:lnTo>
                    <a:pt x="27" y="428"/>
                  </a:lnTo>
                  <a:lnTo>
                    <a:pt x="25" y="428"/>
                  </a:lnTo>
                  <a:lnTo>
                    <a:pt x="19" y="434"/>
                  </a:lnTo>
                  <a:lnTo>
                    <a:pt x="9" y="440"/>
                  </a:lnTo>
                  <a:lnTo>
                    <a:pt x="2" y="443"/>
                  </a:lnTo>
                  <a:lnTo>
                    <a:pt x="0" y="442"/>
                  </a:lnTo>
                  <a:lnTo>
                    <a:pt x="0" y="430"/>
                  </a:lnTo>
                  <a:lnTo>
                    <a:pt x="4" y="418"/>
                  </a:lnTo>
                  <a:lnTo>
                    <a:pt x="9" y="409"/>
                  </a:lnTo>
                  <a:lnTo>
                    <a:pt x="12" y="399"/>
                  </a:lnTo>
                  <a:lnTo>
                    <a:pt x="17" y="356"/>
                  </a:lnTo>
                  <a:lnTo>
                    <a:pt x="16" y="336"/>
                  </a:lnTo>
                  <a:lnTo>
                    <a:pt x="2" y="310"/>
                  </a:lnTo>
                  <a:lnTo>
                    <a:pt x="9" y="290"/>
                  </a:lnTo>
                  <a:lnTo>
                    <a:pt x="11" y="280"/>
                  </a:lnTo>
                  <a:lnTo>
                    <a:pt x="55" y="274"/>
                  </a:lnTo>
                  <a:lnTo>
                    <a:pt x="97" y="263"/>
                  </a:lnTo>
                  <a:lnTo>
                    <a:pt x="136" y="243"/>
                  </a:lnTo>
                  <a:lnTo>
                    <a:pt x="149" y="229"/>
                  </a:lnTo>
                  <a:lnTo>
                    <a:pt x="159" y="213"/>
                  </a:lnTo>
                  <a:lnTo>
                    <a:pt x="173" y="176"/>
                  </a:lnTo>
                  <a:lnTo>
                    <a:pt x="186" y="115"/>
                  </a:lnTo>
                  <a:lnTo>
                    <a:pt x="185" y="86"/>
                  </a:lnTo>
                  <a:lnTo>
                    <a:pt x="186" y="67"/>
                  </a:lnTo>
                  <a:lnTo>
                    <a:pt x="193" y="35"/>
                  </a:lnTo>
                  <a:lnTo>
                    <a:pt x="198" y="25"/>
                  </a:lnTo>
                  <a:lnTo>
                    <a:pt x="202" y="24"/>
                  </a:lnTo>
                  <a:lnTo>
                    <a:pt x="206" y="22"/>
                  </a:lnTo>
                  <a:lnTo>
                    <a:pt x="207" y="16"/>
                  </a:lnTo>
                  <a:lnTo>
                    <a:pt x="206" y="10"/>
                  </a:lnTo>
                  <a:lnTo>
                    <a:pt x="215" y="7"/>
                  </a:lnTo>
                  <a:lnTo>
                    <a:pt x="219" y="14"/>
                  </a:lnTo>
                  <a:lnTo>
                    <a:pt x="226" y="18"/>
                  </a:lnTo>
                  <a:lnTo>
                    <a:pt x="235" y="17"/>
                  </a:lnTo>
                  <a:lnTo>
                    <a:pt x="243" y="23"/>
                  </a:lnTo>
                  <a:lnTo>
                    <a:pt x="248" y="24"/>
                  </a:lnTo>
                  <a:lnTo>
                    <a:pt x="263" y="28"/>
                  </a:lnTo>
                  <a:lnTo>
                    <a:pt x="274" y="24"/>
                  </a:lnTo>
                  <a:lnTo>
                    <a:pt x="285" y="3"/>
                  </a:lnTo>
                  <a:lnTo>
                    <a:pt x="304" y="0"/>
                  </a:lnTo>
                  <a:lnTo>
                    <a:pt x="313" y="9"/>
                  </a:lnTo>
                  <a:lnTo>
                    <a:pt x="316" y="16"/>
                  </a:lnTo>
                  <a:lnTo>
                    <a:pt x="316" y="23"/>
                  </a:lnTo>
                  <a:lnTo>
                    <a:pt x="325" y="31"/>
                  </a:lnTo>
                  <a:lnTo>
                    <a:pt x="338" y="38"/>
                  </a:lnTo>
                  <a:lnTo>
                    <a:pt x="341" y="73"/>
                  </a:lnTo>
                  <a:lnTo>
                    <a:pt x="348" y="102"/>
                  </a:lnTo>
                  <a:lnTo>
                    <a:pt x="372" y="90"/>
                  </a:lnTo>
                  <a:lnTo>
                    <a:pt x="390" y="65"/>
                  </a:lnTo>
                  <a:lnTo>
                    <a:pt x="397" y="58"/>
                  </a:lnTo>
                  <a:lnTo>
                    <a:pt x="407" y="61"/>
                  </a:lnTo>
                  <a:lnTo>
                    <a:pt x="434" y="69"/>
                  </a:lnTo>
                  <a:lnTo>
                    <a:pt x="446" y="85"/>
                  </a:lnTo>
                  <a:lnTo>
                    <a:pt x="452" y="90"/>
                  </a:lnTo>
                  <a:lnTo>
                    <a:pt x="456" y="97"/>
                  </a:lnTo>
                  <a:lnTo>
                    <a:pt x="464" y="104"/>
                  </a:lnTo>
                  <a:lnTo>
                    <a:pt x="476" y="102"/>
                  </a:lnTo>
                  <a:lnTo>
                    <a:pt x="488" y="90"/>
                  </a:lnTo>
                  <a:lnTo>
                    <a:pt x="497" y="73"/>
                  </a:lnTo>
                  <a:lnTo>
                    <a:pt x="506" y="55"/>
                  </a:lnTo>
                  <a:lnTo>
                    <a:pt x="517" y="43"/>
                  </a:lnTo>
                  <a:lnTo>
                    <a:pt x="534" y="51"/>
                  </a:lnTo>
                  <a:lnTo>
                    <a:pt x="549" y="61"/>
                  </a:lnTo>
                  <a:lnTo>
                    <a:pt x="554" y="82"/>
                  </a:lnTo>
                  <a:lnTo>
                    <a:pt x="568" y="97"/>
                  </a:lnTo>
                  <a:lnTo>
                    <a:pt x="588" y="100"/>
                  </a:lnTo>
                  <a:lnTo>
                    <a:pt x="608" y="100"/>
                  </a:lnTo>
                  <a:lnTo>
                    <a:pt x="613" y="99"/>
                  </a:lnTo>
                  <a:lnTo>
                    <a:pt x="618" y="97"/>
                  </a:lnTo>
                  <a:lnTo>
                    <a:pt x="628" y="95"/>
                  </a:lnTo>
                  <a:lnTo>
                    <a:pt x="636" y="100"/>
                  </a:lnTo>
                  <a:lnTo>
                    <a:pt x="641" y="107"/>
                  </a:lnTo>
                  <a:lnTo>
                    <a:pt x="640" y="115"/>
                  </a:lnTo>
                  <a:lnTo>
                    <a:pt x="635" y="126"/>
                  </a:lnTo>
                  <a:lnTo>
                    <a:pt x="622" y="143"/>
                  </a:lnTo>
                  <a:lnTo>
                    <a:pt x="615" y="150"/>
                  </a:lnTo>
                  <a:lnTo>
                    <a:pt x="604" y="153"/>
                  </a:lnTo>
                  <a:lnTo>
                    <a:pt x="597" y="163"/>
                  </a:lnTo>
                  <a:lnTo>
                    <a:pt x="590" y="173"/>
                  </a:lnTo>
                  <a:lnTo>
                    <a:pt x="585" y="186"/>
                  </a:lnTo>
                  <a:lnTo>
                    <a:pt x="591" y="200"/>
                  </a:lnTo>
                  <a:lnTo>
                    <a:pt x="598" y="211"/>
                  </a:lnTo>
                  <a:lnTo>
                    <a:pt x="600" y="223"/>
                  </a:lnTo>
                  <a:lnTo>
                    <a:pt x="598" y="237"/>
                  </a:lnTo>
                  <a:lnTo>
                    <a:pt x="604" y="250"/>
                  </a:lnTo>
                  <a:lnTo>
                    <a:pt x="630" y="263"/>
                  </a:lnTo>
                  <a:lnTo>
                    <a:pt x="648" y="268"/>
                  </a:lnTo>
                  <a:lnTo>
                    <a:pt x="676" y="268"/>
                  </a:lnTo>
                  <a:lnTo>
                    <a:pt x="704" y="264"/>
                  </a:lnTo>
                  <a:lnTo>
                    <a:pt x="723" y="258"/>
                  </a:lnTo>
                  <a:lnTo>
                    <a:pt x="741" y="258"/>
                  </a:lnTo>
                  <a:lnTo>
                    <a:pt x="777" y="273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2" name="Lagos"/>
            <p:cNvSpPr>
              <a:spLocks/>
            </p:cNvSpPr>
            <p:nvPr/>
          </p:nvSpPr>
          <p:spPr bwMode="auto">
            <a:xfrm>
              <a:off x="-9628287" y="5302253"/>
              <a:ext cx="800379" cy="161681"/>
            </a:xfrm>
            <a:custGeom>
              <a:avLst/>
              <a:gdLst>
                <a:gd name="T0" fmla="*/ 494 w 495"/>
                <a:gd name="T1" fmla="*/ 100 h 100"/>
                <a:gd name="T2" fmla="*/ 224 w 495"/>
                <a:gd name="T3" fmla="*/ 88 h 100"/>
                <a:gd name="T4" fmla="*/ 210 w 495"/>
                <a:gd name="T5" fmla="*/ 80 h 100"/>
                <a:gd name="T6" fmla="*/ 210 w 495"/>
                <a:gd name="T7" fmla="*/ 75 h 100"/>
                <a:gd name="T8" fmla="*/ 218 w 495"/>
                <a:gd name="T9" fmla="*/ 73 h 100"/>
                <a:gd name="T10" fmla="*/ 223 w 495"/>
                <a:gd name="T11" fmla="*/ 84 h 100"/>
                <a:gd name="T12" fmla="*/ 236 w 495"/>
                <a:gd name="T13" fmla="*/ 76 h 100"/>
                <a:gd name="T14" fmla="*/ 248 w 495"/>
                <a:gd name="T15" fmla="*/ 75 h 100"/>
                <a:gd name="T16" fmla="*/ 261 w 495"/>
                <a:gd name="T17" fmla="*/ 67 h 100"/>
                <a:gd name="T18" fmla="*/ 261 w 495"/>
                <a:gd name="T19" fmla="*/ 58 h 100"/>
                <a:gd name="T20" fmla="*/ 283 w 495"/>
                <a:gd name="T21" fmla="*/ 55 h 100"/>
                <a:gd name="T22" fmla="*/ 308 w 495"/>
                <a:gd name="T23" fmla="*/ 50 h 100"/>
                <a:gd name="T24" fmla="*/ 319 w 495"/>
                <a:gd name="T25" fmla="*/ 34 h 100"/>
                <a:gd name="T26" fmla="*/ 345 w 495"/>
                <a:gd name="T27" fmla="*/ 28 h 100"/>
                <a:gd name="T28" fmla="*/ 339 w 495"/>
                <a:gd name="T29" fmla="*/ 28 h 100"/>
                <a:gd name="T30" fmla="*/ 289 w 495"/>
                <a:gd name="T31" fmla="*/ 39 h 100"/>
                <a:gd name="T32" fmla="*/ 267 w 495"/>
                <a:gd name="T33" fmla="*/ 45 h 100"/>
                <a:gd name="T34" fmla="*/ 249 w 495"/>
                <a:gd name="T35" fmla="*/ 53 h 100"/>
                <a:gd name="T36" fmla="*/ 240 w 495"/>
                <a:gd name="T37" fmla="*/ 51 h 100"/>
                <a:gd name="T38" fmla="*/ 234 w 495"/>
                <a:gd name="T39" fmla="*/ 48 h 100"/>
                <a:gd name="T40" fmla="*/ 234 w 495"/>
                <a:gd name="T41" fmla="*/ 34 h 100"/>
                <a:gd name="T42" fmla="*/ 226 w 495"/>
                <a:gd name="T43" fmla="*/ 36 h 100"/>
                <a:gd name="T44" fmla="*/ 213 w 495"/>
                <a:gd name="T45" fmla="*/ 45 h 100"/>
                <a:gd name="T46" fmla="*/ 210 w 495"/>
                <a:gd name="T47" fmla="*/ 50 h 100"/>
                <a:gd name="T48" fmla="*/ 211 w 495"/>
                <a:gd name="T49" fmla="*/ 60 h 100"/>
                <a:gd name="T50" fmla="*/ 205 w 495"/>
                <a:gd name="T51" fmla="*/ 72 h 100"/>
                <a:gd name="T52" fmla="*/ 203 w 495"/>
                <a:gd name="T53" fmla="*/ 78 h 100"/>
                <a:gd name="T54" fmla="*/ 205 w 495"/>
                <a:gd name="T55" fmla="*/ 84 h 100"/>
                <a:gd name="T56" fmla="*/ 188 w 495"/>
                <a:gd name="T57" fmla="*/ 94 h 100"/>
                <a:gd name="T58" fmla="*/ 68 w 495"/>
                <a:gd name="T59" fmla="*/ 94 h 100"/>
                <a:gd name="T60" fmla="*/ 3 w 495"/>
                <a:gd name="T61" fmla="*/ 68 h 100"/>
                <a:gd name="T62" fmla="*/ 25 w 495"/>
                <a:gd name="T63" fmla="*/ 68 h 100"/>
                <a:gd name="T64" fmla="*/ 48 w 495"/>
                <a:gd name="T65" fmla="*/ 65 h 100"/>
                <a:gd name="T66" fmla="*/ 58 w 495"/>
                <a:gd name="T67" fmla="*/ 53 h 100"/>
                <a:gd name="T68" fmla="*/ 146 w 495"/>
                <a:gd name="T69" fmla="*/ 49 h 100"/>
                <a:gd name="T70" fmla="*/ 158 w 495"/>
                <a:gd name="T71" fmla="*/ 22 h 100"/>
                <a:gd name="T72" fmla="*/ 173 w 495"/>
                <a:gd name="T73" fmla="*/ 0 h 100"/>
                <a:gd name="T74" fmla="*/ 201 w 495"/>
                <a:gd name="T75" fmla="*/ 17 h 100"/>
                <a:gd name="T76" fmla="*/ 222 w 495"/>
                <a:gd name="T77" fmla="*/ 12 h 100"/>
                <a:gd name="T78" fmla="*/ 400 w 495"/>
                <a:gd name="T79" fmla="*/ 4 h 100"/>
                <a:gd name="T80" fmla="*/ 408 w 495"/>
                <a:gd name="T81" fmla="*/ 22 h 100"/>
                <a:gd name="T82" fmla="*/ 408 w 495"/>
                <a:gd name="T83" fmla="*/ 40 h 100"/>
                <a:gd name="T84" fmla="*/ 436 w 495"/>
                <a:gd name="T85" fmla="*/ 36 h 100"/>
                <a:gd name="T86" fmla="*/ 457 w 495"/>
                <a:gd name="T87" fmla="*/ 44 h 100"/>
                <a:gd name="T88" fmla="*/ 437 w 495"/>
                <a:gd name="T89" fmla="*/ 67 h 100"/>
                <a:gd name="T90" fmla="*/ 457 w 495"/>
                <a:gd name="T91" fmla="*/ 77 h 100"/>
                <a:gd name="T92" fmla="*/ 486 w 495"/>
                <a:gd name="T93" fmla="*/ 7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95" h="100">
                  <a:moveTo>
                    <a:pt x="495" y="91"/>
                  </a:moveTo>
                  <a:lnTo>
                    <a:pt x="494" y="99"/>
                  </a:lnTo>
                  <a:lnTo>
                    <a:pt x="494" y="100"/>
                  </a:lnTo>
                  <a:lnTo>
                    <a:pt x="428" y="88"/>
                  </a:lnTo>
                  <a:lnTo>
                    <a:pt x="352" y="81"/>
                  </a:lnTo>
                  <a:lnTo>
                    <a:pt x="224" y="88"/>
                  </a:lnTo>
                  <a:lnTo>
                    <a:pt x="216" y="87"/>
                  </a:lnTo>
                  <a:lnTo>
                    <a:pt x="213" y="84"/>
                  </a:lnTo>
                  <a:lnTo>
                    <a:pt x="210" y="80"/>
                  </a:lnTo>
                  <a:lnTo>
                    <a:pt x="205" y="77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7"/>
                  </a:lnTo>
                  <a:lnTo>
                    <a:pt x="218" y="73"/>
                  </a:lnTo>
                  <a:lnTo>
                    <a:pt x="221" y="74"/>
                  </a:lnTo>
                  <a:lnTo>
                    <a:pt x="222" y="79"/>
                  </a:lnTo>
                  <a:lnTo>
                    <a:pt x="223" y="84"/>
                  </a:lnTo>
                  <a:lnTo>
                    <a:pt x="233" y="73"/>
                  </a:lnTo>
                  <a:lnTo>
                    <a:pt x="235" y="74"/>
                  </a:lnTo>
                  <a:lnTo>
                    <a:pt x="236" y="76"/>
                  </a:lnTo>
                  <a:lnTo>
                    <a:pt x="238" y="76"/>
                  </a:lnTo>
                  <a:lnTo>
                    <a:pt x="242" y="75"/>
                  </a:lnTo>
                  <a:lnTo>
                    <a:pt x="248" y="75"/>
                  </a:lnTo>
                  <a:lnTo>
                    <a:pt x="252" y="74"/>
                  </a:lnTo>
                  <a:lnTo>
                    <a:pt x="257" y="71"/>
                  </a:lnTo>
                  <a:lnTo>
                    <a:pt x="261" y="67"/>
                  </a:lnTo>
                  <a:lnTo>
                    <a:pt x="263" y="64"/>
                  </a:lnTo>
                  <a:lnTo>
                    <a:pt x="261" y="60"/>
                  </a:lnTo>
                  <a:lnTo>
                    <a:pt x="261" y="58"/>
                  </a:lnTo>
                  <a:lnTo>
                    <a:pt x="265" y="57"/>
                  </a:lnTo>
                  <a:lnTo>
                    <a:pt x="277" y="57"/>
                  </a:lnTo>
                  <a:lnTo>
                    <a:pt x="283" y="55"/>
                  </a:lnTo>
                  <a:lnTo>
                    <a:pt x="296" y="51"/>
                  </a:lnTo>
                  <a:lnTo>
                    <a:pt x="300" y="53"/>
                  </a:lnTo>
                  <a:lnTo>
                    <a:pt x="308" y="50"/>
                  </a:lnTo>
                  <a:lnTo>
                    <a:pt x="314" y="47"/>
                  </a:lnTo>
                  <a:lnTo>
                    <a:pt x="318" y="42"/>
                  </a:lnTo>
                  <a:lnTo>
                    <a:pt x="319" y="34"/>
                  </a:lnTo>
                  <a:lnTo>
                    <a:pt x="323" y="33"/>
                  </a:lnTo>
                  <a:lnTo>
                    <a:pt x="348" y="30"/>
                  </a:lnTo>
                  <a:lnTo>
                    <a:pt x="345" y="28"/>
                  </a:lnTo>
                  <a:lnTo>
                    <a:pt x="343" y="27"/>
                  </a:lnTo>
                  <a:lnTo>
                    <a:pt x="342" y="27"/>
                  </a:lnTo>
                  <a:lnTo>
                    <a:pt x="339" y="28"/>
                  </a:lnTo>
                  <a:lnTo>
                    <a:pt x="323" y="24"/>
                  </a:lnTo>
                  <a:lnTo>
                    <a:pt x="306" y="30"/>
                  </a:lnTo>
                  <a:lnTo>
                    <a:pt x="289" y="39"/>
                  </a:lnTo>
                  <a:lnTo>
                    <a:pt x="275" y="45"/>
                  </a:lnTo>
                  <a:lnTo>
                    <a:pt x="270" y="45"/>
                  </a:lnTo>
                  <a:lnTo>
                    <a:pt x="267" y="45"/>
                  </a:lnTo>
                  <a:lnTo>
                    <a:pt x="256" y="51"/>
                  </a:lnTo>
                  <a:lnTo>
                    <a:pt x="252" y="52"/>
                  </a:lnTo>
                  <a:lnTo>
                    <a:pt x="249" y="53"/>
                  </a:lnTo>
                  <a:lnTo>
                    <a:pt x="245" y="53"/>
                  </a:lnTo>
                  <a:lnTo>
                    <a:pt x="244" y="52"/>
                  </a:lnTo>
                  <a:lnTo>
                    <a:pt x="240" y="51"/>
                  </a:lnTo>
                  <a:lnTo>
                    <a:pt x="237" y="51"/>
                  </a:lnTo>
                  <a:lnTo>
                    <a:pt x="235" y="49"/>
                  </a:lnTo>
                  <a:lnTo>
                    <a:pt x="234" y="48"/>
                  </a:lnTo>
                  <a:lnTo>
                    <a:pt x="233" y="45"/>
                  </a:lnTo>
                  <a:lnTo>
                    <a:pt x="232" y="40"/>
                  </a:lnTo>
                  <a:lnTo>
                    <a:pt x="234" y="34"/>
                  </a:lnTo>
                  <a:lnTo>
                    <a:pt x="235" y="30"/>
                  </a:lnTo>
                  <a:lnTo>
                    <a:pt x="230" y="32"/>
                  </a:lnTo>
                  <a:lnTo>
                    <a:pt x="226" y="36"/>
                  </a:lnTo>
                  <a:lnTo>
                    <a:pt x="219" y="43"/>
                  </a:lnTo>
                  <a:lnTo>
                    <a:pt x="216" y="45"/>
                  </a:lnTo>
                  <a:lnTo>
                    <a:pt x="213" y="45"/>
                  </a:lnTo>
                  <a:lnTo>
                    <a:pt x="211" y="45"/>
                  </a:lnTo>
                  <a:lnTo>
                    <a:pt x="209" y="48"/>
                  </a:lnTo>
                  <a:lnTo>
                    <a:pt x="210" y="50"/>
                  </a:lnTo>
                  <a:lnTo>
                    <a:pt x="212" y="54"/>
                  </a:lnTo>
                  <a:lnTo>
                    <a:pt x="212" y="57"/>
                  </a:lnTo>
                  <a:lnTo>
                    <a:pt x="211" y="60"/>
                  </a:lnTo>
                  <a:lnTo>
                    <a:pt x="207" y="66"/>
                  </a:lnTo>
                  <a:lnTo>
                    <a:pt x="205" y="70"/>
                  </a:lnTo>
                  <a:lnTo>
                    <a:pt x="205" y="72"/>
                  </a:lnTo>
                  <a:lnTo>
                    <a:pt x="202" y="73"/>
                  </a:lnTo>
                  <a:lnTo>
                    <a:pt x="201" y="75"/>
                  </a:lnTo>
                  <a:lnTo>
                    <a:pt x="203" y="78"/>
                  </a:lnTo>
                  <a:lnTo>
                    <a:pt x="204" y="79"/>
                  </a:lnTo>
                  <a:lnTo>
                    <a:pt x="205" y="81"/>
                  </a:lnTo>
                  <a:lnTo>
                    <a:pt x="205" y="84"/>
                  </a:lnTo>
                  <a:lnTo>
                    <a:pt x="207" y="85"/>
                  </a:lnTo>
                  <a:lnTo>
                    <a:pt x="205" y="92"/>
                  </a:lnTo>
                  <a:lnTo>
                    <a:pt x="188" y="94"/>
                  </a:lnTo>
                  <a:lnTo>
                    <a:pt x="154" y="92"/>
                  </a:lnTo>
                  <a:lnTo>
                    <a:pt x="115" y="96"/>
                  </a:lnTo>
                  <a:lnTo>
                    <a:pt x="68" y="94"/>
                  </a:lnTo>
                  <a:lnTo>
                    <a:pt x="0" y="100"/>
                  </a:lnTo>
                  <a:lnTo>
                    <a:pt x="0" y="81"/>
                  </a:lnTo>
                  <a:lnTo>
                    <a:pt x="3" y="68"/>
                  </a:lnTo>
                  <a:lnTo>
                    <a:pt x="5" y="68"/>
                  </a:lnTo>
                  <a:lnTo>
                    <a:pt x="15" y="69"/>
                  </a:lnTo>
                  <a:lnTo>
                    <a:pt x="25" y="68"/>
                  </a:lnTo>
                  <a:lnTo>
                    <a:pt x="33" y="71"/>
                  </a:lnTo>
                  <a:lnTo>
                    <a:pt x="40" y="70"/>
                  </a:lnTo>
                  <a:lnTo>
                    <a:pt x="48" y="65"/>
                  </a:lnTo>
                  <a:lnTo>
                    <a:pt x="55" y="59"/>
                  </a:lnTo>
                  <a:lnTo>
                    <a:pt x="55" y="55"/>
                  </a:lnTo>
                  <a:lnTo>
                    <a:pt x="58" y="53"/>
                  </a:lnTo>
                  <a:lnTo>
                    <a:pt x="123" y="56"/>
                  </a:lnTo>
                  <a:lnTo>
                    <a:pt x="141" y="53"/>
                  </a:lnTo>
                  <a:lnTo>
                    <a:pt x="146" y="49"/>
                  </a:lnTo>
                  <a:lnTo>
                    <a:pt x="148" y="33"/>
                  </a:lnTo>
                  <a:lnTo>
                    <a:pt x="153" y="27"/>
                  </a:lnTo>
                  <a:lnTo>
                    <a:pt x="158" y="22"/>
                  </a:lnTo>
                  <a:lnTo>
                    <a:pt x="162" y="7"/>
                  </a:lnTo>
                  <a:lnTo>
                    <a:pt x="164" y="3"/>
                  </a:lnTo>
                  <a:lnTo>
                    <a:pt x="173" y="0"/>
                  </a:lnTo>
                  <a:lnTo>
                    <a:pt x="181" y="2"/>
                  </a:lnTo>
                  <a:lnTo>
                    <a:pt x="194" y="8"/>
                  </a:lnTo>
                  <a:lnTo>
                    <a:pt x="201" y="17"/>
                  </a:lnTo>
                  <a:lnTo>
                    <a:pt x="211" y="18"/>
                  </a:lnTo>
                  <a:lnTo>
                    <a:pt x="217" y="16"/>
                  </a:lnTo>
                  <a:lnTo>
                    <a:pt x="222" y="12"/>
                  </a:lnTo>
                  <a:lnTo>
                    <a:pt x="222" y="7"/>
                  </a:lnTo>
                  <a:lnTo>
                    <a:pt x="225" y="5"/>
                  </a:lnTo>
                  <a:lnTo>
                    <a:pt x="400" y="4"/>
                  </a:lnTo>
                  <a:lnTo>
                    <a:pt x="418" y="8"/>
                  </a:lnTo>
                  <a:lnTo>
                    <a:pt x="415" y="16"/>
                  </a:lnTo>
                  <a:lnTo>
                    <a:pt x="408" y="22"/>
                  </a:lnTo>
                  <a:lnTo>
                    <a:pt x="405" y="29"/>
                  </a:lnTo>
                  <a:lnTo>
                    <a:pt x="408" y="36"/>
                  </a:lnTo>
                  <a:lnTo>
                    <a:pt x="408" y="40"/>
                  </a:lnTo>
                  <a:lnTo>
                    <a:pt x="417" y="47"/>
                  </a:lnTo>
                  <a:lnTo>
                    <a:pt x="426" y="43"/>
                  </a:lnTo>
                  <a:lnTo>
                    <a:pt x="436" y="36"/>
                  </a:lnTo>
                  <a:lnTo>
                    <a:pt x="445" y="34"/>
                  </a:lnTo>
                  <a:lnTo>
                    <a:pt x="454" y="37"/>
                  </a:lnTo>
                  <a:lnTo>
                    <a:pt x="457" y="44"/>
                  </a:lnTo>
                  <a:lnTo>
                    <a:pt x="454" y="50"/>
                  </a:lnTo>
                  <a:lnTo>
                    <a:pt x="437" y="60"/>
                  </a:lnTo>
                  <a:lnTo>
                    <a:pt x="437" y="67"/>
                  </a:lnTo>
                  <a:lnTo>
                    <a:pt x="444" y="71"/>
                  </a:lnTo>
                  <a:lnTo>
                    <a:pt x="453" y="73"/>
                  </a:lnTo>
                  <a:lnTo>
                    <a:pt x="457" y="77"/>
                  </a:lnTo>
                  <a:lnTo>
                    <a:pt x="462" y="80"/>
                  </a:lnTo>
                  <a:lnTo>
                    <a:pt x="469" y="79"/>
                  </a:lnTo>
                  <a:lnTo>
                    <a:pt x="486" y="79"/>
                  </a:lnTo>
                  <a:lnTo>
                    <a:pt x="494" y="82"/>
                  </a:lnTo>
                  <a:lnTo>
                    <a:pt x="495" y="91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3" name="Kwara"/>
            <p:cNvSpPr>
              <a:spLocks/>
            </p:cNvSpPr>
            <p:nvPr/>
          </p:nvSpPr>
          <p:spPr bwMode="auto">
            <a:xfrm>
              <a:off x="-9618587" y="3625619"/>
              <a:ext cx="1699392" cy="1060628"/>
            </a:xfrm>
            <a:custGeom>
              <a:avLst/>
              <a:gdLst>
                <a:gd name="T0" fmla="*/ 0 w 1051"/>
                <a:gd name="T1" fmla="*/ 411 h 656"/>
                <a:gd name="T2" fmla="*/ 8 w 1051"/>
                <a:gd name="T3" fmla="*/ 397 h 656"/>
                <a:gd name="T4" fmla="*/ 11 w 1051"/>
                <a:gd name="T5" fmla="*/ 375 h 656"/>
                <a:gd name="T6" fmla="*/ 12 w 1051"/>
                <a:gd name="T7" fmla="*/ 366 h 656"/>
                <a:gd name="T8" fmla="*/ 37 w 1051"/>
                <a:gd name="T9" fmla="*/ 331 h 656"/>
                <a:gd name="T10" fmla="*/ 54 w 1051"/>
                <a:gd name="T11" fmla="*/ 322 h 656"/>
                <a:gd name="T12" fmla="*/ 75 w 1051"/>
                <a:gd name="T13" fmla="*/ 328 h 656"/>
                <a:gd name="T14" fmla="*/ 121 w 1051"/>
                <a:gd name="T15" fmla="*/ 276 h 656"/>
                <a:gd name="T16" fmla="*/ 124 w 1051"/>
                <a:gd name="T17" fmla="*/ 225 h 656"/>
                <a:gd name="T18" fmla="*/ 137 w 1051"/>
                <a:gd name="T19" fmla="*/ 195 h 656"/>
                <a:gd name="T20" fmla="*/ 155 w 1051"/>
                <a:gd name="T21" fmla="*/ 163 h 656"/>
                <a:gd name="T22" fmla="*/ 184 w 1051"/>
                <a:gd name="T23" fmla="*/ 149 h 656"/>
                <a:gd name="T24" fmla="*/ 179 w 1051"/>
                <a:gd name="T25" fmla="*/ 110 h 656"/>
                <a:gd name="T26" fmla="*/ 238 w 1051"/>
                <a:gd name="T27" fmla="*/ 91 h 656"/>
                <a:gd name="T28" fmla="*/ 266 w 1051"/>
                <a:gd name="T29" fmla="*/ 28 h 656"/>
                <a:gd name="T30" fmla="*/ 283 w 1051"/>
                <a:gd name="T31" fmla="*/ 8 h 656"/>
                <a:gd name="T32" fmla="*/ 380 w 1051"/>
                <a:gd name="T33" fmla="*/ 3 h 656"/>
                <a:gd name="T34" fmla="*/ 510 w 1051"/>
                <a:gd name="T35" fmla="*/ 134 h 656"/>
                <a:gd name="T36" fmla="*/ 543 w 1051"/>
                <a:gd name="T37" fmla="*/ 215 h 656"/>
                <a:gd name="T38" fmla="*/ 571 w 1051"/>
                <a:gd name="T39" fmla="*/ 237 h 656"/>
                <a:gd name="T40" fmla="*/ 575 w 1051"/>
                <a:gd name="T41" fmla="*/ 252 h 656"/>
                <a:gd name="T42" fmla="*/ 612 w 1051"/>
                <a:gd name="T43" fmla="*/ 269 h 656"/>
                <a:gd name="T44" fmla="*/ 625 w 1051"/>
                <a:gd name="T45" fmla="*/ 304 h 656"/>
                <a:gd name="T46" fmla="*/ 683 w 1051"/>
                <a:gd name="T47" fmla="*/ 286 h 656"/>
                <a:gd name="T48" fmla="*/ 710 w 1051"/>
                <a:gd name="T49" fmla="*/ 301 h 656"/>
                <a:gd name="T50" fmla="*/ 742 w 1051"/>
                <a:gd name="T51" fmla="*/ 327 h 656"/>
                <a:gd name="T52" fmla="*/ 748 w 1051"/>
                <a:gd name="T53" fmla="*/ 343 h 656"/>
                <a:gd name="T54" fmla="*/ 810 w 1051"/>
                <a:gd name="T55" fmla="*/ 351 h 656"/>
                <a:gd name="T56" fmla="*/ 829 w 1051"/>
                <a:gd name="T57" fmla="*/ 364 h 656"/>
                <a:gd name="T58" fmla="*/ 853 w 1051"/>
                <a:gd name="T59" fmla="*/ 371 h 656"/>
                <a:gd name="T60" fmla="*/ 871 w 1051"/>
                <a:gd name="T61" fmla="*/ 392 h 656"/>
                <a:gd name="T62" fmla="*/ 901 w 1051"/>
                <a:gd name="T63" fmla="*/ 399 h 656"/>
                <a:gd name="T64" fmla="*/ 921 w 1051"/>
                <a:gd name="T65" fmla="*/ 420 h 656"/>
                <a:gd name="T66" fmla="*/ 960 w 1051"/>
                <a:gd name="T67" fmla="*/ 425 h 656"/>
                <a:gd name="T68" fmla="*/ 1019 w 1051"/>
                <a:gd name="T69" fmla="*/ 419 h 656"/>
                <a:gd name="T70" fmla="*/ 1038 w 1051"/>
                <a:gd name="T71" fmla="*/ 443 h 656"/>
                <a:gd name="T72" fmla="*/ 1002 w 1051"/>
                <a:gd name="T73" fmla="*/ 535 h 656"/>
                <a:gd name="T74" fmla="*/ 853 w 1051"/>
                <a:gd name="T75" fmla="*/ 492 h 656"/>
                <a:gd name="T76" fmla="*/ 799 w 1051"/>
                <a:gd name="T77" fmla="*/ 568 h 656"/>
                <a:gd name="T78" fmla="*/ 845 w 1051"/>
                <a:gd name="T79" fmla="*/ 607 h 656"/>
                <a:gd name="T80" fmla="*/ 795 w 1051"/>
                <a:gd name="T81" fmla="*/ 647 h 656"/>
                <a:gd name="T82" fmla="*/ 767 w 1051"/>
                <a:gd name="T83" fmla="*/ 654 h 656"/>
                <a:gd name="T84" fmla="*/ 708 w 1051"/>
                <a:gd name="T85" fmla="*/ 639 h 656"/>
                <a:gd name="T86" fmla="*/ 667 w 1051"/>
                <a:gd name="T87" fmla="*/ 623 h 656"/>
                <a:gd name="T88" fmla="*/ 623 w 1051"/>
                <a:gd name="T89" fmla="*/ 629 h 656"/>
                <a:gd name="T90" fmla="*/ 552 w 1051"/>
                <a:gd name="T91" fmla="*/ 636 h 656"/>
                <a:gd name="T92" fmla="*/ 519 w 1051"/>
                <a:gd name="T93" fmla="*/ 580 h 656"/>
                <a:gd name="T94" fmla="*/ 472 w 1051"/>
                <a:gd name="T95" fmla="*/ 497 h 656"/>
                <a:gd name="T96" fmla="*/ 456 w 1051"/>
                <a:gd name="T97" fmla="*/ 387 h 656"/>
                <a:gd name="T98" fmla="*/ 464 w 1051"/>
                <a:gd name="T99" fmla="*/ 356 h 656"/>
                <a:gd name="T100" fmla="*/ 373 w 1051"/>
                <a:gd name="T101" fmla="*/ 322 h 656"/>
                <a:gd name="T102" fmla="*/ 316 w 1051"/>
                <a:gd name="T103" fmla="*/ 303 h 656"/>
                <a:gd name="T104" fmla="*/ 231 w 1051"/>
                <a:gd name="T105" fmla="*/ 380 h 656"/>
                <a:gd name="T106" fmla="*/ 153 w 1051"/>
                <a:gd name="T107" fmla="*/ 422 h 656"/>
                <a:gd name="T108" fmla="*/ 135 w 1051"/>
                <a:gd name="T109" fmla="*/ 414 h 656"/>
                <a:gd name="T110" fmla="*/ 98 w 1051"/>
                <a:gd name="T111" fmla="*/ 437 h 656"/>
                <a:gd name="T112" fmla="*/ 60 w 1051"/>
                <a:gd name="T113" fmla="*/ 468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51" h="656">
                  <a:moveTo>
                    <a:pt x="24" y="473"/>
                  </a:moveTo>
                  <a:lnTo>
                    <a:pt x="9" y="486"/>
                  </a:lnTo>
                  <a:lnTo>
                    <a:pt x="7" y="487"/>
                  </a:lnTo>
                  <a:lnTo>
                    <a:pt x="0" y="414"/>
                  </a:lnTo>
                  <a:lnTo>
                    <a:pt x="0" y="411"/>
                  </a:lnTo>
                  <a:lnTo>
                    <a:pt x="2" y="409"/>
                  </a:lnTo>
                  <a:lnTo>
                    <a:pt x="8" y="406"/>
                  </a:lnTo>
                  <a:lnTo>
                    <a:pt x="9" y="404"/>
                  </a:lnTo>
                  <a:lnTo>
                    <a:pt x="10" y="402"/>
                  </a:lnTo>
                  <a:lnTo>
                    <a:pt x="8" y="397"/>
                  </a:lnTo>
                  <a:lnTo>
                    <a:pt x="8" y="395"/>
                  </a:lnTo>
                  <a:lnTo>
                    <a:pt x="9" y="390"/>
                  </a:lnTo>
                  <a:lnTo>
                    <a:pt x="13" y="382"/>
                  </a:lnTo>
                  <a:lnTo>
                    <a:pt x="13" y="377"/>
                  </a:lnTo>
                  <a:lnTo>
                    <a:pt x="11" y="375"/>
                  </a:lnTo>
                  <a:lnTo>
                    <a:pt x="10" y="375"/>
                  </a:lnTo>
                  <a:lnTo>
                    <a:pt x="9" y="374"/>
                  </a:lnTo>
                  <a:lnTo>
                    <a:pt x="8" y="372"/>
                  </a:lnTo>
                  <a:lnTo>
                    <a:pt x="9" y="371"/>
                  </a:lnTo>
                  <a:lnTo>
                    <a:pt x="12" y="366"/>
                  </a:lnTo>
                  <a:lnTo>
                    <a:pt x="13" y="363"/>
                  </a:lnTo>
                  <a:lnTo>
                    <a:pt x="15" y="355"/>
                  </a:lnTo>
                  <a:lnTo>
                    <a:pt x="15" y="337"/>
                  </a:lnTo>
                  <a:lnTo>
                    <a:pt x="15" y="329"/>
                  </a:lnTo>
                  <a:lnTo>
                    <a:pt x="37" y="331"/>
                  </a:lnTo>
                  <a:lnTo>
                    <a:pt x="41" y="330"/>
                  </a:lnTo>
                  <a:lnTo>
                    <a:pt x="44" y="328"/>
                  </a:lnTo>
                  <a:lnTo>
                    <a:pt x="48" y="326"/>
                  </a:lnTo>
                  <a:lnTo>
                    <a:pt x="51" y="324"/>
                  </a:lnTo>
                  <a:lnTo>
                    <a:pt x="54" y="322"/>
                  </a:lnTo>
                  <a:lnTo>
                    <a:pt x="63" y="322"/>
                  </a:lnTo>
                  <a:lnTo>
                    <a:pt x="66" y="322"/>
                  </a:lnTo>
                  <a:lnTo>
                    <a:pt x="69" y="324"/>
                  </a:lnTo>
                  <a:lnTo>
                    <a:pt x="72" y="326"/>
                  </a:lnTo>
                  <a:lnTo>
                    <a:pt x="75" y="328"/>
                  </a:lnTo>
                  <a:lnTo>
                    <a:pt x="78" y="328"/>
                  </a:lnTo>
                  <a:lnTo>
                    <a:pt x="99" y="322"/>
                  </a:lnTo>
                  <a:lnTo>
                    <a:pt x="107" y="317"/>
                  </a:lnTo>
                  <a:lnTo>
                    <a:pt x="111" y="307"/>
                  </a:lnTo>
                  <a:lnTo>
                    <a:pt x="121" y="276"/>
                  </a:lnTo>
                  <a:lnTo>
                    <a:pt x="127" y="265"/>
                  </a:lnTo>
                  <a:lnTo>
                    <a:pt x="129" y="259"/>
                  </a:lnTo>
                  <a:lnTo>
                    <a:pt x="129" y="240"/>
                  </a:lnTo>
                  <a:lnTo>
                    <a:pt x="128" y="234"/>
                  </a:lnTo>
                  <a:lnTo>
                    <a:pt x="124" y="225"/>
                  </a:lnTo>
                  <a:lnTo>
                    <a:pt x="122" y="217"/>
                  </a:lnTo>
                  <a:lnTo>
                    <a:pt x="123" y="209"/>
                  </a:lnTo>
                  <a:lnTo>
                    <a:pt x="129" y="199"/>
                  </a:lnTo>
                  <a:lnTo>
                    <a:pt x="132" y="198"/>
                  </a:lnTo>
                  <a:lnTo>
                    <a:pt x="137" y="195"/>
                  </a:lnTo>
                  <a:lnTo>
                    <a:pt x="139" y="193"/>
                  </a:lnTo>
                  <a:lnTo>
                    <a:pt x="157" y="170"/>
                  </a:lnTo>
                  <a:lnTo>
                    <a:pt x="157" y="168"/>
                  </a:lnTo>
                  <a:lnTo>
                    <a:pt x="156" y="165"/>
                  </a:lnTo>
                  <a:lnTo>
                    <a:pt x="155" y="163"/>
                  </a:lnTo>
                  <a:lnTo>
                    <a:pt x="158" y="156"/>
                  </a:lnTo>
                  <a:lnTo>
                    <a:pt x="162" y="153"/>
                  </a:lnTo>
                  <a:lnTo>
                    <a:pt x="168" y="154"/>
                  </a:lnTo>
                  <a:lnTo>
                    <a:pt x="174" y="156"/>
                  </a:lnTo>
                  <a:lnTo>
                    <a:pt x="184" y="149"/>
                  </a:lnTo>
                  <a:lnTo>
                    <a:pt x="186" y="141"/>
                  </a:lnTo>
                  <a:lnTo>
                    <a:pt x="183" y="133"/>
                  </a:lnTo>
                  <a:lnTo>
                    <a:pt x="180" y="124"/>
                  </a:lnTo>
                  <a:lnTo>
                    <a:pt x="179" y="118"/>
                  </a:lnTo>
                  <a:lnTo>
                    <a:pt x="179" y="110"/>
                  </a:lnTo>
                  <a:lnTo>
                    <a:pt x="182" y="104"/>
                  </a:lnTo>
                  <a:lnTo>
                    <a:pt x="187" y="101"/>
                  </a:lnTo>
                  <a:lnTo>
                    <a:pt x="208" y="92"/>
                  </a:lnTo>
                  <a:lnTo>
                    <a:pt x="220" y="89"/>
                  </a:lnTo>
                  <a:lnTo>
                    <a:pt x="238" y="91"/>
                  </a:lnTo>
                  <a:lnTo>
                    <a:pt x="243" y="86"/>
                  </a:lnTo>
                  <a:lnTo>
                    <a:pt x="251" y="72"/>
                  </a:lnTo>
                  <a:lnTo>
                    <a:pt x="261" y="60"/>
                  </a:lnTo>
                  <a:lnTo>
                    <a:pt x="264" y="54"/>
                  </a:lnTo>
                  <a:lnTo>
                    <a:pt x="266" y="28"/>
                  </a:lnTo>
                  <a:lnTo>
                    <a:pt x="268" y="24"/>
                  </a:lnTo>
                  <a:lnTo>
                    <a:pt x="273" y="19"/>
                  </a:lnTo>
                  <a:lnTo>
                    <a:pt x="277" y="17"/>
                  </a:lnTo>
                  <a:lnTo>
                    <a:pt x="281" y="14"/>
                  </a:lnTo>
                  <a:lnTo>
                    <a:pt x="283" y="8"/>
                  </a:lnTo>
                  <a:lnTo>
                    <a:pt x="283" y="6"/>
                  </a:lnTo>
                  <a:lnTo>
                    <a:pt x="285" y="6"/>
                  </a:lnTo>
                  <a:lnTo>
                    <a:pt x="312" y="2"/>
                  </a:lnTo>
                  <a:lnTo>
                    <a:pt x="360" y="0"/>
                  </a:lnTo>
                  <a:lnTo>
                    <a:pt x="380" y="3"/>
                  </a:lnTo>
                  <a:lnTo>
                    <a:pt x="389" y="10"/>
                  </a:lnTo>
                  <a:lnTo>
                    <a:pt x="490" y="128"/>
                  </a:lnTo>
                  <a:lnTo>
                    <a:pt x="494" y="131"/>
                  </a:lnTo>
                  <a:lnTo>
                    <a:pt x="499" y="134"/>
                  </a:lnTo>
                  <a:lnTo>
                    <a:pt x="510" y="134"/>
                  </a:lnTo>
                  <a:lnTo>
                    <a:pt x="515" y="154"/>
                  </a:lnTo>
                  <a:lnTo>
                    <a:pt x="512" y="178"/>
                  </a:lnTo>
                  <a:lnTo>
                    <a:pt x="511" y="201"/>
                  </a:lnTo>
                  <a:lnTo>
                    <a:pt x="521" y="218"/>
                  </a:lnTo>
                  <a:lnTo>
                    <a:pt x="543" y="215"/>
                  </a:lnTo>
                  <a:lnTo>
                    <a:pt x="570" y="219"/>
                  </a:lnTo>
                  <a:lnTo>
                    <a:pt x="570" y="221"/>
                  </a:lnTo>
                  <a:lnTo>
                    <a:pt x="571" y="232"/>
                  </a:lnTo>
                  <a:lnTo>
                    <a:pt x="570" y="238"/>
                  </a:lnTo>
                  <a:lnTo>
                    <a:pt x="571" y="237"/>
                  </a:lnTo>
                  <a:lnTo>
                    <a:pt x="571" y="237"/>
                  </a:lnTo>
                  <a:lnTo>
                    <a:pt x="572" y="237"/>
                  </a:lnTo>
                  <a:lnTo>
                    <a:pt x="572" y="244"/>
                  </a:lnTo>
                  <a:lnTo>
                    <a:pt x="572" y="248"/>
                  </a:lnTo>
                  <a:lnTo>
                    <a:pt x="575" y="252"/>
                  </a:lnTo>
                  <a:lnTo>
                    <a:pt x="580" y="256"/>
                  </a:lnTo>
                  <a:lnTo>
                    <a:pt x="584" y="258"/>
                  </a:lnTo>
                  <a:lnTo>
                    <a:pt x="600" y="260"/>
                  </a:lnTo>
                  <a:lnTo>
                    <a:pt x="608" y="263"/>
                  </a:lnTo>
                  <a:lnTo>
                    <a:pt x="612" y="269"/>
                  </a:lnTo>
                  <a:lnTo>
                    <a:pt x="612" y="277"/>
                  </a:lnTo>
                  <a:lnTo>
                    <a:pt x="611" y="287"/>
                  </a:lnTo>
                  <a:lnTo>
                    <a:pt x="611" y="295"/>
                  </a:lnTo>
                  <a:lnTo>
                    <a:pt x="616" y="301"/>
                  </a:lnTo>
                  <a:lnTo>
                    <a:pt x="625" y="304"/>
                  </a:lnTo>
                  <a:lnTo>
                    <a:pt x="633" y="303"/>
                  </a:lnTo>
                  <a:lnTo>
                    <a:pt x="646" y="299"/>
                  </a:lnTo>
                  <a:lnTo>
                    <a:pt x="660" y="292"/>
                  </a:lnTo>
                  <a:lnTo>
                    <a:pt x="679" y="286"/>
                  </a:lnTo>
                  <a:lnTo>
                    <a:pt x="683" y="286"/>
                  </a:lnTo>
                  <a:lnTo>
                    <a:pt x="687" y="287"/>
                  </a:lnTo>
                  <a:lnTo>
                    <a:pt x="695" y="290"/>
                  </a:lnTo>
                  <a:lnTo>
                    <a:pt x="695" y="292"/>
                  </a:lnTo>
                  <a:lnTo>
                    <a:pt x="700" y="294"/>
                  </a:lnTo>
                  <a:lnTo>
                    <a:pt x="710" y="301"/>
                  </a:lnTo>
                  <a:lnTo>
                    <a:pt x="726" y="308"/>
                  </a:lnTo>
                  <a:lnTo>
                    <a:pt x="731" y="311"/>
                  </a:lnTo>
                  <a:lnTo>
                    <a:pt x="736" y="318"/>
                  </a:lnTo>
                  <a:lnTo>
                    <a:pt x="741" y="324"/>
                  </a:lnTo>
                  <a:lnTo>
                    <a:pt x="742" y="327"/>
                  </a:lnTo>
                  <a:lnTo>
                    <a:pt x="742" y="330"/>
                  </a:lnTo>
                  <a:lnTo>
                    <a:pt x="742" y="334"/>
                  </a:lnTo>
                  <a:lnTo>
                    <a:pt x="742" y="337"/>
                  </a:lnTo>
                  <a:lnTo>
                    <a:pt x="744" y="341"/>
                  </a:lnTo>
                  <a:lnTo>
                    <a:pt x="748" y="343"/>
                  </a:lnTo>
                  <a:lnTo>
                    <a:pt x="752" y="344"/>
                  </a:lnTo>
                  <a:lnTo>
                    <a:pt x="781" y="349"/>
                  </a:lnTo>
                  <a:lnTo>
                    <a:pt x="801" y="348"/>
                  </a:lnTo>
                  <a:lnTo>
                    <a:pt x="806" y="349"/>
                  </a:lnTo>
                  <a:lnTo>
                    <a:pt x="810" y="351"/>
                  </a:lnTo>
                  <a:lnTo>
                    <a:pt x="813" y="353"/>
                  </a:lnTo>
                  <a:lnTo>
                    <a:pt x="818" y="358"/>
                  </a:lnTo>
                  <a:lnTo>
                    <a:pt x="822" y="361"/>
                  </a:lnTo>
                  <a:lnTo>
                    <a:pt x="826" y="363"/>
                  </a:lnTo>
                  <a:lnTo>
                    <a:pt x="829" y="364"/>
                  </a:lnTo>
                  <a:lnTo>
                    <a:pt x="838" y="364"/>
                  </a:lnTo>
                  <a:lnTo>
                    <a:pt x="842" y="366"/>
                  </a:lnTo>
                  <a:lnTo>
                    <a:pt x="847" y="367"/>
                  </a:lnTo>
                  <a:lnTo>
                    <a:pt x="851" y="370"/>
                  </a:lnTo>
                  <a:lnTo>
                    <a:pt x="853" y="371"/>
                  </a:lnTo>
                  <a:lnTo>
                    <a:pt x="857" y="376"/>
                  </a:lnTo>
                  <a:lnTo>
                    <a:pt x="863" y="381"/>
                  </a:lnTo>
                  <a:lnTo>
                    <a:pt x="866" y="384"/>
                  </a:lnTo>
                  <a:lnTo>
                    <a:pt x="868" y="387"/>
                  </a:lnTo>
                  <a:lnTo>
                    <a:pt x="871" y="392"/>
                  </a:lnTo>
                  <a:lnTo>
                    <a:pt x="872" y="394"/>
                  </a:lnTo>
                  <a:lnTo>
                    <a:pt x="876" y="397"/>
                  </a:lnTo>
                  <a:lnTo>
                    <a:pt x="881" y="399"/>
                  </a:lnTo>
                  <a:lnTo>
                    <a:pt x="898" y="399"/>
                  </a:lnTo>
                  <a:lnTo>
                    <a:pt x="901" y="399"/>
                  </a:lnTo>
                  <a:lnTo>
                    <a:pt x="907" y="402"/>
                  </a:lnTo>
                  <a:lnTo>
                    <a:pt x="910" y="402"/>
                  </a:lnTo>
                  <a:lnTo>
                    <a:pt x="913" y="409"/>
                  </a:lnTo>
                  <a:lnTo>
                    <a:pt x="918" y="415"/>
                  </a:lnTo>
                  <a:lnTo>
                    <a:pt x="921" y="420"/>
                  </a:lnTo>
                  <a:lnTo>
                    <a:pt x="923" y="422"/>
                  </a:lnTo>
                  <a:lnTo>
                    <a:pt x="926" y="424"/>
                  </a:lnTo>
                  <a:lnTo>
                    <a:pt x="943" y="423"/>
                  </a:lnTo>
                  <a:lnTo>
                    <a:pt x="956" y="425"/>
                  </a:lnTo>
                  <a:lnTo>
                    <a:pt x="960" y="425"/>
                  </a:lnTo>
                  <a:lnTo>
                    <a:pt x="963" y="425"/>
                  </a:lnTo>
                  <a:lnTo>
                    <a:pt x="974" y="420"/>
                  </a:lnTo>
                  <a:lnTo>
                    <a:pt x="981" y="419"/>
                  </a:lnTo>
                  <a:lnTo>
                    <a:pt x="1014" y="418"/>
                  </a:lnTo>
                  <a:lnTo>
                    <a:pt x="1019" y="419"/>
                  </a:lnTo>
                  <a:lnTo>
                    <a:pt x="1023" y="421"/>
                  </a:lnTo>
                  <a:lnTo>
                    <a:pt x="1032" y="429"/>
                  </a:lnTo>
                  <a:lnTo>
                    <a:pt x="1034" y="430"/>
                  </a:lnTo>
                  <a:lnTo>
                    <a:pt x="1051" y="427"/>
                  </a:lnTo>
                  <a:lnTo>
                    <a:pt x="1038" y="443"/>
                  </a:lnTo>
                  <a:lnTo>
                    <a:pt x="1026" y="485"/>
                  </a:lnTo>
                  <a:lnTo>
                    <a:pt x="1021" y="516"/>
                  </a:lnTo>
                  <a:lnTo>
                    <a:pt x="1019" y="524"/>
                  </a:lnTo>
                  <a:lnTo>
                    <a:pt x="1013" y="532"/>
                  </a:lnTo>
                  <a:lnTo>
                    <a:pt x="1002" y="535"/>
                  </a:lnTo>
                  <a:lnTo>
                    <a:pt x="969" y="526"/>
                  </a:lnTo>
                  <a:lnTo>
                    <a:pt x="927" y="524"/>
                  </a:lnTo>
                  <a:lnTo>
                    <a:pt x="898" y="518"/>
                  </a:lnTo>
                  <a:lnTo>
                    <a:pt x="867" y="506"/>
                  </a:lnTo>
                  <a:lnTo>
                    <a:pt x="853" y="492"/>
                  </a:lnTo>
                  <a:lnTo>
                    <a:pt x="840" y="487"/>
                  </a:lnTo>
                  <a:lnTo>
                    <a:pt x="827" y="499"/>
                  </a:lnTo>
                  <a:lnTo>
                    <a:pt x="792" y="542"/>
                  </a:lnTo>
                  <a:lnTo>
                    <a:pt x="790" y="552"/>
                  </a:lnTo>
                  <a:lnTo>
                    <a:pt x="799" y="568"/>
                  </a:lnTo>
                  <a:lnTo>
                    <a:pt x="804" y="573"/>
                  </a:lnTo>
                  <a:lnTo>
                    <a:pt x="809" y="579"/>
                  </a:lnTo>
                  <a:lnTo>
                    <a:pt x="812" y="584"/>
                  </a:lnTo>
                  <a:lnTo>
                    <a:pt x="824" y="595"/>
                  </a:lnTo>
                  <a:lnTo>
                    <a:pt x="845" y="607"/>
                  </a:lnTo>
                  <a:lnTo>
                    <a:pt x="847" y="626"/>
                  </a:lnTo>
                  <a:lnTo>
                    <a:pt x="814" y="627"/>
                  </a:lnTo>
                  <a:lnTo>
                    <a:pt x="804" y="630"/>
                  </a:lnTo>
                  <a:lnTo>
                    <a:pt x="797" y="637"/>
                  </a:lnTo>
                  <a:lnTo>
                    <a:pt x="795" y="647"/>
                  </a:lnTo>
                  <a:lnTo>
                    <a:pt x="791" y="654"/>
                  </a:lnTo>
                  <a:lnTo>
                    <a:pt x="789" y="655"/>
                  </a:lnTo>
                  <a:lnTo>
                    <a:pt x="786" y="654"/>
                  </a:lnTo>
                  <a:lnTo>
                    <a:pt x="774" y="656"/>
                  </a:lnTo>
                  <a:lnTo>
                    <a:pt x="767" y="654"/>
                  </a:lnTo>
                  <a:lnTo>
                    <a:pt x="754" y="653"/>
                  </a:lnTo>
                  <a:lnTo>
                    <a:pt x="735" y="641"/>
                  </a:lnTo>
                  <a:lnTo>
                    <a:pt x="715" y="647"/>
                  </a:lnTo>
                  <a:lnTo>
                    <a:pt x="709" y="644"/>
                  </a:lnTo>
                  <a:lnTo>
                    <a:pt x="708" y="639"/>
                  </a:lnTo>
                  <a:lnTo>
                    <a:pt x="705" y="637"/>
                  </a:lnTo>
                  <a:lnTo>
                    <a:pt x="700" y="636"/>
                  </a:lnTo>
                  <a:lnTo>
                    <a:pt x="683" y="639"/>
                  </a:lnTo>
                  <a:lnTo>
                    <a:pt x="674" y="633"/>
                  </a:lnTo>
                  <a:lnTo>
                    <a:pt x="667" y="623"/>
                  </a:lnTo>
                  <a:lnTo>
                    <a:pt x="655" y="622"/>
                  </a:lnTo>
                  <a:lnTo>
                    <a:pt x="644" y="627"/>
                  </a:lnTo>
                  <a:lnTo>
                    <a:pt x="626" y="629"/>
                  </a:lnTo>
                  <a:lnTo>
                    <a:pt x="624" y="631"/>
                  </a:lnTo>
                  <a:lnTo>
                    <a:pt x="623" y="629"/>
                  </a:lnTo>
                  <a:lnTo>
                    <a:pt x="615" y="631"/>
                  </a:lnTo>
                  <a:lnTo>
                    <a:pt x="608" y="634"/>
                  </a:lnTo>
                  <a:lnTo>
                    <a:pt x="590" y="637"/>
                  </a:lnTo>
                  <a:lnTo>
                    <a:pt x="571" y="635"/>
                  </a:lnTo>
                  <a:lnTo>
                    <a:pt x="552" y="636"/>
                  </a:lnTo>
                  <a:lnTo>
                    <a:pt x="546" y="633"/>
                  </a:lnTo>
                  <a:lnTo>
                    <a:pt x="541" y="632"/>
                  </a:lnTo>
                  <a:lnTo>
                    <a:pt x="538" y="626"/>
                  </a:lnTo>
                  <a:lnTo>
                    <a:pt x="529" y="598"/>
                  </a:lnTo>
                  <a:lnTo>
                    <a:pt x="519" y="580"/>
                  </a:lnTo>
                  <a:lnTo>
                    <a:pt x="511" y="576"/>
                  </a:lnTo>
                  <a:lnTo>
                    <a:pt x="503" y="568"/>
                  </a:lnTo>
                  <a:lnTo>
                    <a:pt x="492" y="553"/>
                  </a:lnTo>
                  <a:lnTo>
                    <a:pt x="482" y="513"/>
                  </a:lnTo>
                  <a:lnTo>
                    <a:pt x="472" y="497"/>
                  </a:lnTo>
                  <a:lnTo>
                    <a:pt x="445" y="438"/>
                  </a:lnTo>
                  <a:lnTo>
                    <a:pt x="441" y="420"/>
                  </a:lnTo>
                  <a:lnTo>
                    <a:pt x="445" y="401"/>
                  </a:lnTo>
                  <a:lnTo>
                    <a:pt x="451" y="395"/>
                  </a:lnTo>
                  <a:lnTo>
                    <a:pt x="456" y="387"/>
                  </a:lnTo>
                  <a:lnTo>
                    <a:pt x="463" y="380"/>
                  </a:lnTo>
                  <a:lnTo>
                    <a:pt x="474" y="374"/>
                  </a:lnTo>
                  <a:lnTo>
                    <a:pt x="484" y="359"/>
                  </a:lnTo>
                  <a:lnTo>
                    <a:pt x="479" y="348"/>
                  </a:lnTo>
                  <a:lnTo>
                    <a:pt x="464" y="356"/>
                  </a:lnTo>
                  <a:lnTo>
                    <a:pt x="456" y="357"/>
                  </a:lnTo>
                  <a:lnTo>
                    <a:pt x="434" y="352"/>
                  </a:lnTo>
                  <a:lnTo>
                    <a:pt x="398" y="340"/>
                  </a:lnTo>
                  <a:lnTo>
                    <a:pt x="386" y="333"/>
                  </a:lnTo>
                  <a:lnTo>
                    <a:pt x="373" y="322"/>
                  </a:lnTo>
                  <a:lnTo>
                    <a:pt x="367" y="309"/>
                  </a:lnTo>
                  <a:lnTo>
                    <a:pt x="358" y="299"/>
                  </a:lnTo>
                  <a:lnTo>
                    <a:pt x="345" y="293"/>
                  </a:lnTo>
                  <a:lnTo>
                    <a:pt x="330" y="294"/>
                  </a:lnTo>
                  <a:lnTo>
                    <a:pt x="316" y="303"/>
                  </a:lnTo>
                  <a:lnTo>
                    <a:pt x="309" y="318"/>
                  </a:lnTo>
                  <a:lnTo>
                    <a:pt x="306" y="338"/>
                  </a:lnTo>
                  <a:lnTo>
                    <a:pt x="300" y="344"/>
                  </a:lnTo>
                  <a:lnTo>
                    <a:pt x="293" y="349"/>
                  </a:lnTo>
                  <a:lnTo>
                    <a:pt x="231" y="380"/>
                  </a:lnTo>
                  <a:lnTo>
                    <a:pt x="219" y="389"/>
                  </a:lnTo>
                  <a:lnTo>
                    <a:pt x="206" y="395"/>
                  </a:lnTo>
                  <a:lnTo>
                    <a:pt x="193" y="405"/>
                  </a:lnTo>
                  <a:lnTo>
                    <a:pt x="157" y="422"/>
                  </a:lnTo>
                  <a:lnTo>
                    <a:pt x="153" y="422"/>
                  </a:lnTo>
                  <a:lnTo>
                    <a:pt x="150" y="419"/>
                  </a:lnTo>
                  <a:lnTo>
                    <a:pt x="147" y="417"/>
                  </a:lnTo>
                  <a:lnTo>
                    <a:pt x="144" y="414"/>
                  </a:lnTo>
                  <a:lnTo>
                    <a:pt x="140" y="413"/>
                  </a:lnTo>
                  <a:lnTo>
                    <a:pt x="135" y="414"/>
                  </a:lnTo>
                  <a:lnTo>
                    <a:pt x="127" y="416"/>
                  </a:lnTo>
                  <a:lnTo>
                    <a:pt x="121" y="419"/>
                  </a:lnTo>
                  <a:lnTo>
                    <a:pt x="109" y="430"/>
                  </a:lnTo>
                  <a:lnTo>
                    <a:pt x="103" y="433"/>
                  </a:lnTo>
                  <a:lnTo>
                    <a:pt x="98" y="437"/>
                  </a:lnTo>
                  <a:lnTo>
                    <a:pt x="96" y="440"/>
                  </a:lnTo>
                  <a:lnTo>
                    <a:pt x="89" y="442"/>
                  </a:lnTo>
                  <a:lnTo>
                    <a:pt x="72" y="457"/>
                  </a:lnTo>
                  <a:lnTo>
                    <a:pt x="67" y="463"/>
                  </a:lnTo>
                  <a:lnTo>
                    <a:pt x="60" y="468"/>
                  </a:lnTo>
                  <a:lnTo>
                    <a:pt x="36" y="473"/>
                  </a:lnTo>
                  <a:lnTo>
                    <a:pt x="30" y="473"/>
                  </a:lnTo>
                  <a:lnTo>
                    <a:pt x="24" y="473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4" name="Kogi"/>
            <p:cNvSpPr>
              <a:spLocks/>
            </p:cNvSpPr>
            <p:nvPr/>
          </p:nvSpPr>
          <p:spPr bwMode="auto">
            <a:xfrm>
              <a:off x="-8341213" y="4311147"/>
              <a:ext cx="1230482" cy="1075180"/>
            </a:xfrm>
            <a:custGeom>
              <a:avLst/>
              <a:gdLst>
                <a:gd name="T0" fmla="*/ 696 w 761"/>
                <a:gd name="T1" fmla="*/ 231 h 665"/>
                <a:gd name="T2" fmla="*/ 717 w 761"/>
                <a:gd name="T3" fmla="*/ 285 h 665"/>
                <a:gd name="T4" fmla="*/ 729 w 761"/>
                <a:gd name="T5" fmla="*/ 377 h 665"/>
                <a:gd name="T6" fmla="*/ 761 w 761"/>
                <a:gd name="T7" fmla="*/ 398 h 665"/>
                <a:gd name="T8" fmla="*/ 745 w 761"/>
                <a:gd name="T9" fmla="*/ 451 h 665"/>
                <a:gd name="T10" fmla="*/ 688 w 761"/>
                <a:gd name="T11" fmla="*/ 518 h 665"/>
                <a:gd name="T12" fmla="*/ 646 w 761"/>
                <a:gd name="T13" fmla="*/ 501 h 665"/>
                <a:gd name="T14" fmla="*/ 599 w 761"/>
                <a:gd name="T15" fmla="*/ 504 h 665"/>
                <a:gd name="T16" fmla="*/ 552 w 761"/>
                <a:gd name="T17" fmla="*/ 549 h 665"/>
                <a:gd name="T18" fmla="*/ 495 w 761"/>
                <a:gd name="T19" fmla="*/ 586 h 665"/>
                <a:gd name="T20" fmla="*/ 487 w 761"/>
                <a:gd name="T21" fmla="*/ 571 h 665"/>
                <a:gd name="T22" fmla="*/ 448 w 761"/>
                <a:gd name="T23" fmla="*/ 609 h 665"/>
                <a:gd name="T24" fmla="*/ 417 w 761"/>
                <a:gd name="T25" fmla="*/ 665 h 665"/>
                <a:gd name="T26" fmla="*/ 400 w 761"/>
                <a:gd name="T27" fmla="*/ 659 h 665"/>
                <a:gd name="T28" fmla="*/ 393 w 761"/>
                <a:gd name="T29" fmla="*/ 586 h 665"/>
                <a:gd name="T30" fmla="*/ 403 w 761"/>
                <a:gd name="T31" fmla="*/ 537 h 665"/>
                <a:gd name="T32" fmla="*/ 406 w 761"/>
                <a:gd name="T33" fmla="*/ 510 h 665"/>
                <a:gd name="T34" fmla="*/ 412 w 761"/>
                <a:gd name="T35" fmla="*/ 472 h 665"/>
                <a:gd name="T36" fmla="*/ 398 w 761"/>
                <a:gd name="T37" fmla="*/ 455 h 665"/>
                <a:gd name="T38" fmla="*/ 385 w 761"/>
                <a:gd name="T39" fmla="*/ 439 h 665"/>
                <a:gd name="T40" fmla="*/ 345 w 761"/>
                <a:gd name="T41" fmla="*/ 442 h 665"/>
                <a:gd name="T42" fmla="*/ 326 w 761"/>
                <a:gd name="T43" fmla="*/ 408 h 665"/>
                <a:gd name="T44" fmla="*/ 293 w 761"/>
                <a:gd name="T45" fmla="*/ 399 h 665"/>
                <a:gd name="T46" fmla="*/ 270 w 761"/>
                <a:gd name="T47" fmla="*/ 385 h 665"/>
                <a:gd name="T48" fmla="*/ 229 w 761"/>
                <a:gd name="T49" fmla="*/ 385 h 665"/>
                <a:gd name="T50" fmla="*/ 220 w 761"/>
                <a:gd name="T51" fmla="*/ 355 h 665"/>
                <a:gd name="T52" fmla="*/ 186 w 761"/>
                <a:gd name="T53" fmla="*/ 331 h 665"/>
                <a:gd name="T54" fmla="*/ 140 w 761"/>
                <a:gd name="T55" fmla="*/ 296 h 665"/>
                <a:gd name="T56" fmla="*/ 93 w 761"/>
                <a:gd name="T57" fmla="*/ 277 h 665"/>
                <a:gd name="T58" fmla="*/ 89 w 761"/>
                <a:gd name="T59" fmla="*/ 231 h 665"/>
                <a:gd name="T60" fmla="*/ 87 w 761"/>
                <a:gd name="T61" fmla="*/ 216 h 665"/>
                <a:gd name="T62" fmla="*/ 50 w 761"/>
                <a:gd name="T63" fmla="*/ 222 h 665"/>
                <a:gd name="T64" fmla="*/ 34 w 761"/>
                <a:gd name="T65" fmla="*/ 171 h 665"/>
                <a:gd name="T66" fmla="*/ 9 w 761"/>
                <a:gd name="T67" fmla="*/ 144 h 665"/>
                <a:gd name="T68" fmla="*/ 50 w 761"/>
                <a:gd name="T69" fmla="*/ 63 h 665"/>
                <a:gd name="T70" fmla="*/ 137 w 761"/>
                <a:gd name="T71" fmla="*/ 100 h 665"/>
                <a:gd name="T72" fmla="*/ 229 w 761"/>
                <a:gd name="T73" fmla="*/ 100 h 665"/>
                <a:gd name="T74" fmla="*/ 261 w 761"/>
                <a:gd name="T75" fmla="*/ 3 h 665"/>
                <a:gd name="T76" fmla="*/ 292 w 761"/>
                <a:gd name="T77" fmla="*/ 10 h 665"/>
                <a:gd name="T78" fmla="*/ 315 w 761"/>
                <a:gd name="T79" fmla="*/ 31 h 665"/>
                <a:gd name="T80" fmla="*/ 321 w 761"/>
                <a:gd name="T81" fmla="*/ 50 h 665"/>
                <a:gd name="T82" fmla="*/ 329 w 761"/>
                <a:gd name="T83" fmla="*/ 79 h 665"/>
                <a:gd name="T84" fmla="*/ 372 w 761"/>
                <a:gd name="T85" fmla="*/ 120 h 665"/>
                <a:gd name="T86" fmla="*/ 399 w 761"/>
                <a:gd name="T87" fmla="*/ 155 h 665"/>
                <a:gd name="T88" fmla="*/ 411 w 761"/>
                <a:gd name="T89" fmla="*/ 147 h 665"/>
                <a:gd name="T90" fmla="*/ 423 w 761"/>
                <a:gd name="T91" fmla="*/ 134 h 665"/>
                <a:gd name="T92" fmla="*/ 443 w 761"/>
                <a:gd name="T93" fmla="*/ 113 h 665"/>
                <a:gd name="T94" fmla="*/ 488 w 761"/>
                <a:gd name="T95" fmla="*/ 99 h 665"/>
                <a:gd name="T96" fmla="*/ 495 w 761"/>
                <a:gd name="T97" fmla="*/ 154 h 665"/>
                <a:gd name="T98" fmla="*/ 483 w 761"/>
                <a:gd name="T99" fmla="*/ 236 h 665"/>
                <a:gd name="T100" fmla="*/ 488 w 761"/>
                <a:gd name="T101" fmla="*/ 258 h 665"/>
                <a:gd name="T102" fmla="*/ 506 w 761"/>
                <a:gd name="T103" fmla="*/ 244 h 665"/>
                <a:gd name="T104" fmla="*/ 646 w 761"/>
                <a:gd name="T105" fmla="*/ 217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1" h="665">
                  <a:moveTo>
                    <a:pt x="688" y="213"/>
                  </a:moveTo>
                  <a:lnTo>
                    <a:pt x="694" y="214"/>
                  </a:lnTo>
                  <a:lnTo>
                    <a:pt x="697" y="215"/>
                  </a:lnTo>
                  <a:lnTo>
                    <a:pt x="696" y="231"/>
                  </a:lnTo>
                  <a:lnTo>
                    <a:pt x="696" y="248"/>
                  </a:lnTo>
                  <a:lnTo>
                    <a:pt x="700" y="263"/>
                  </a:lnTo>
                  <a:lnTo>
                    <a:pt x="709" y="277"/>
                  </a:lnTo>
                  <a:lnTo>
                    <a:pt x="717" y="285"/>
                  </a:lnTo>
                  <a:lnTo>
                    <a:pt x="723" y="296"/>
                  </a:lnTo>
                  <a:lnTo>
                    <a:pt x="724" y="307"/>
                  </a:lnTo>
                  <a:lnTo>
                    <a:pt x="724" y="341"/>
                  </a:lnTo>
                  <a:lnTo>
                    <a:pt x="729" y="377"/>
                  </a:lnTo>
                  <a:lnTo>
                    <a:pt x="733" y="389"/>
                  </a:lnTo>
                  <a:lnTo>
                    <a:pt x="742" y="394"/>
                  </a:lnTo>
                  <a:lnTo>
                    <a:pt x="753" y="393"/>
                  </a:lnTo>
                  <a:lnTo>
                    <a:pt x="761" y="398"/>
                  </a:lnTo>
                  <a:lnTo>
                    <a:pt x="755" y="409"/>
                  </a:lnTo>
                  <a:lnTo>
                    <a:pt x="751" y="418"/>
                  </a:lnTo>
                  <a:lnTo>
                    <a:pt x="751" y="427"/>
                  </a:lnTo>
                  <a:lnTo>
                    <a:pt x="745" y="451"/>
                  </a:lnTo>
                  <a:lnTo>
                    <a:pt x="733" y="471"/>
                  </a:lnTo>
                  <a:lnTo>
                    <a:pt x="693" y="494"/>
                  </a:lnTo>
                  <a:lnTo>
                    <a:pt x="688" y="505"/>
                  </a:lnTo>
                  <a:lnTo>
                    <a:pt x="688" y="518"/>
                  </a:lnTo>
                  <a:lnTo>
                    <a:pt x="679" y="521"/>
                  </a:lnTo>
                  <a:lnTo>
                    <a:pt x="669" y="517"/>
                  </a:lnTo>
                  <a:lnTo>
                    <a:pt x="657" y="506"/>
                  </a:lnTo>
                  <a:lnTo>
                    <a:pt x="646" y="501"/>
                  </a:lnTo>
                  <a:lnTo>
                    <a:pt x="635" y="492"/>
                  </a:lnTo>
                  <a:lnTo>
                    <a:pt x="620" y="491"/>
                  </a:lnTo>
                  <a:lnTo>
                    <a:pt x="610" y="497"/>
                  </a:lnTo>
                  <a:lnTo>
                    <a:pt x="599" y="504"/>
                  </a:lnTo>
                  <a:lnTo>
                    <a:pt x="590" y="507"/>
                  </a:lnTo>
                  <a:lnTo>
                    <a:pt x="585" y="512"/>
                  </a:lnTo>
                  <a:lnTo>
                    <a:pt x="568" y="535"/>
                  </a:lnTo>
                  <a:lnTo>
                    <a:pt x="552" y="549"/>
                  </a:lnTo>
                  <a:lnTo>
                    <a:pt x="528" y="565"/>
                  </a:lnTo>
                  <a:lnTo>
                    <a:pt x="517" y="580"/>
                  </a:lnTo>
                  <a:lnTo>
                    <a:pt x="503" y="590"/>
                  </a:lnTo>
                  <a:lnTo>
                    <a:pt x="495" y="586"/>
                  </a:lnTo>
                  <a:lnTo>
                    <a:pt x="491" y="580"/>
                  </a:lnTo>
                  <a:lnTo>
                    <a:pt x="489" y="578"/>
                  </a:lnTo>
                  <a:lnTo>
                    <a:pt x="487" y="574"/>
                  </a:lnTo>
                  <a:lnTo>
                    <a:pt x="487" y="571"/>
                  </a:lnTo>
                  <a:lnTo>
                    <a:pt x="487" y="568"/>
                  </a:lnTo>
                  <a:lnTo>
                    <a:pt x="477" y="575"/>
                  </a:lnTo>
                  <a:lnTo>
                    <a:pt x="468" y="590"/>
                  </a:lnTo>
                  <a:lnTo>
                    <a:pt x="448" y="609"/>
                  </a:lnTo>
                  <a:lnTo>
                    <a:pt x="441" y="624"/>
                  </a:lnTo>
                  <a:lnTo>
                    <a:pt x="435" y="653"/>
                  </a:lnTo>
                  <a:lnTo>
                    <a:pt x="424" y="664"/>
                  </a:lnTo>
                  <a:lnTo>
                    <a:pt x="417" y="665"/>
                  </a:lnTo>
                  <a:lnTo>
                    <a:pt x="409" y="663"/>
                  </a:lnTo>
                  <a:lnTo>
                    <a:pt x="402" y="663"/>
                  </a:lnTo>
                  <a:lnTo>
                    <a:pt x="400" y="663"/>
                  </a:lnTo>
                  <a:lnTo>
                    <a:pt x="400" y="659"/>
                  </a:lnTo>
                  <a:lnTo>
                    <a:pt x="399" y="655"/>
                  </a:lnTo>
                  <a:lnTo>
                    <a:pt x="393" y="637"/>
                  </a:lnTo>
                  <a:lnTo>
                    <a:pt x="392" y="625"/>
                  </a:lnTo>
                  <a:lnTo>
                    <a:pt x="393" y="586"/>
                  </a:lnTo>
                  <a:lnTo>
                    <a:pt x="392" y="571"/>
                  </a:lnTo>
                  <a:lnTo>
                    <a:pt x="392" y="565"/>
                  </a:lnTo>
                  <a:lnTo>
                    <a:pt x="395" y="553"/>
                  </a:lnTo>
                  <a:lnTo>
                    <a:pt x="403" y="537"/>
                  </a:lnTo>
                  <a:lnTo>
                    <a:pt x="403" y="534"/>
                  </a:lnTo>
                  <a:lnTo>
                    <a:pt x="403" y="520"/>
                  </a:lnTo>
                  <a:lnTo>
                    <a:pt x="404" y="517"/>
                  </a:lnTo>
                  <a:lnTo>
                    <a:pt x="406" y="510"/>
                  </a:lnTo>
                  <a:lnTo>
                    <a:pt x="407" y="495"/>
                  </a:lnTo>
                  <a:lnTo>
                    <a:pt x="411" y="483"/>
                  </a:lnTo>
                  <a:lnTo>
                    <a:pt x="412" y="478"/>
                  </a:lnTo>
                  <a:lnTo>
                    <a:pt x="412" y="472"/>
                  </a:lnTo>
                  <a:lnTo>
                    <a:pt x="411" y="470"/>
                  </a:lnTo>
                  <a:lnTo>
                    <a:pt x="407" y="459"/>
                  </a:lnTo>
                  <a:lnTo>
                    <a:pt x="406" y="457"/>
                  </a:lnTo>
                  <a:lnTo>
                    <a:pt x="398" y="455"/>
                  </a:lnTo>
                  <a:lnTo>
                    <a:pt x="394" y="453"/>
                  </a:lnTo>
                  <a:lnTo>
                    <a:pt x="393" y="447"/>
                  </a:lnTo>
                  <a:lnTo>
                    <a:pt x="389" y="442"/>
                  </a:lnTo>
                  <a:lnTo>
                    <a:pt x="385" y="439"/>
                  </a:lnTo>
                  <a:lnTo>
                    <a:pt x="377" y="440"/>
                  </a:lnTo>
                  <a:lnTo>
                    <a:pt x="365" y="445"/>
                  </a:lnTo>
                  <a:lnTo>
                    <a:pt x="350" y="448"/>
                  </a:lnTo>
                  <a:lnTo>
                    <a:pt x="345" y="442"/>
                  </a:lnTo>
                  <a:lnTo>
                    <a:pt x="344" y="436"/>
                  </a:lnTo>
                  <a:lnTo>
                    <a:pt x="340" y="431"/>
                  </a:lnTo>
                  <a:lnTo>
                    <a:pt x="334" y="414"/>
                  </a:lnTo>
                  <a:lnTo>
                    <a:pt x="326" y="408"/>
                  </a:lnTo>
                  <a:lnTo>
                    <a:pt x="320" y="407"/>
                  </a:lnTo>
                  <a:lnTo>
                    <a:pt x="309" y="410"/>
                  </a:lnTo>
                  <a:lnTo>
                    <a:pt x="301" y="410"/>
                  </a:lnTo>
                  <a:lnTo>
                    <a:pt x="293" y="399"/>
                  </a:lnTo>
                  <a:lnTo>
                    <a:pt x="283" y="393"/>
                  </a:lnTo>
                  <a:lnTo>
                    <a:pt x="279" y="389"/>
                  </a:lnTo>
                  <a:lnTo>
                    <a:pt x="276" y="384"/>
                  </a:lnTo>
                  <a:lnTo>
                    <a:pt x="270" y="385"/>
                  </a:lnTo>
                  <a:lnTo>
                    <a:pt x="263" y="389"/>
                  </a:lnTo>
                  <a:lnTo>
                    <a:pt x="249" y="394"/>
                  </a:lnTo>
                  <a:lnTo>
                    <a:pt x="236" y="395"/>
                  </a:lnTo>
                  <a:lnTo>
                    <a:pt x="229" y="385"/>
                  </a:lnTo>
                  <a:lnTo>
                    <a:pt x="232" y="372"/>
                  </a:lnTo>
                  <a:lnTo>
                    <a:pt x="230" y="365"/>
                  </a:lnTo>
                  <a:lnTo>
                    <a:pt x="219" y="362"/>
                  </a:lnTo>
                  <a:lnTo>
                    <a:pt x="220" y="355"/>
                  </a:lnTo>
                  <a:lnTo>
                    <a:pt x="216" y="352"/>
                  </a:lnTo>
                  <a:lnTo>
                    <a:pt x="210" y="353"/>
                  </a:lnTo>
                  <a:lnTo>
                    <a:pt x="204" y="350"/>
                  </a:lnTo>
                  <a:lnTo>
                    <a:pt x="186" y="331"/>
                  </a:lnTo>
                  <a:lnTo>
                    <a:pt x="171" y="307"/>
                  </a:lnTo>
                  <a:lnTo>
                    <a:pt x="172" y="295"/>
                  </a:lnTo>
                  <a:lnTo>
                    <a:pt x="163" y="292"/>
                  </a:lnTo>
                  <a:lnTo>
                    <a:pt x="140" y="296"/>
                  </a:lnTo>
                  <a:lnTo>
                    <a:pt x="126" y="292"/>
                  </a:lnTo>
                  <a:lnTo>
                    <a:pt x="102" y="281"/>
                  </a:lnTo>
                  <a:lnTo>
                    <a:pt x="98" y="277"/>
                  </a:lnTo>
                  <a:lnTo>
                    <a:pt x="93" y="277"/>
                  </a:lnTo>
                  <a:lnTo>
                    <a:pt x="83" y="267"/>
                  </a:lnTo>
                  <a:lnTo>
                    <a:pt x="79" y="254"/>
                  </a:lnTo>
                  <a:lnTo>
                    <a:pt x="81" y="242"/>
                  </a:lnTo>
                  <a:lnTo>
                    <a:pt x="89" y="231"/>
                  </a:lnTo>
                  <a:lnTo>
                    <a:pt x="97" y="227"/>
                  </a:lnTo>
                  <a:lnTo>
                    <a:pt x="97" y="220"/>
                  </a:lnTo>
                  <a:lnTo>
                    <a:pt x="92" y="217"/>
                  </a:lnTo>
                  <a:lnTo>
                    <a:pt x="87" y="216"/>
                  </a:lnTo>
                  <a:lnTo>
                    <a:pt x="76" y="217"/>
                  </a:lnTo>
                  <a:lnTo>
                    <a:pt x="65" y="220"/>
                  </a:lnTo>
                  <a:lnTo>
                    <a:pt x="57" y="225"/>
                  </a:lnTo>
                  <a:lnTo>
                    <a:pt x="50" y="222"/>
                  </a:lnTo>
                  <a:lnTo>
                    <a:pt x="50" y="210"/>
                  </a:lnTo>
                  <a:lnTo>
                    <a:pt x="57" y="202"/>
                  </a:lnTo>
                  <a:lnTo>
                    <a:pt x="55" y="183"/>
                  </a:lnTo>
                  <a:lnTo>
                    <a:pt x="34" y="171"/>
                  </a:lnTo>
                  <a:lnTo>
                    <a:pt x="22" y="160"/>
                  </a:lnTo>
                  <a:lnTo>
                    <a:pt x="19" y="155"/>
                  </a:lnTo>
                  <a:lnTo>
                    <a:pt x="14" y="149"/>
                  </a:lnTo>
                  <a:lnTo>
                    <a:pt x="9" y="144"/>
                  </a:lnTo>
                  <a:lnTo>
                    <a:pt x="0" y="128"/>
                  </a:lnTo>
                  <a:lnTo>
                    <a:pt x="2" y="118"/>
                  </a:lnTo>
                  <a:lnTo>
                    <a:pt x="37" y="75"/>
                  </a:lnTo>
                  <a:lnTo>
                    <a:pt x="50" y="63"/>
                  </a:lnTo>
                  <a:lnTo>
                    <a:pt x="63" y="68"/>
                  </a:lnTo>
                  <a:lnTo>
                    <a:pt x="77" y="82"/>
                  </a:lnTo>
                  <a:lnTo>
                    <a:pt x="108" y="94"/>
                  </a:lnTo>
                  <a:lnTo>
                    <a:pt x="137" y="100"/>
                  </a:lnTo>
                  <a:lnTo>
                    <a:pt x="179" y="102"/>
                  </a:lnTo>
                  <a:lnTo>
                    <a:pt x="212" y="111"/>
                  </a:lnTo>
                  <a:lnTo>
                    <a:pt x="223" y="108"/>
                  </a:lnTo>
                  <a:lnTo>
                    <a:pt x="229" y="100"/>
                  </a:lnTo>
                  <a:lnTo>
                    <a:pt x="231" y="92"/>
                  </a:lnTo>
                  <a:lnTo>
                    <a:pt x="236" y="61"/>
                  </a:lnTo>
                  <a:lnTo>
                    <a:pt x="248" y="19"/>
                  </a:lnTo>
                  <a:lnTo>
                    <a:pt x="261" y="3"/>
                  </a:lnTo>
                  <a:lnTo>
                    <a:pt x="274" y="0"/>
                  </a:lnTo>
                  <a:lnTo>
                    <a:pt x="280" y="1"/>
                  </a:lnTo>
                  <a:lnTo>
                    <a:pt x="282" y="3"/>
                  </a:lnTo>
                  <a:lnTo>
                    <a:pt x="292" y="10"/>
                  </a:lnTo>
                  <a:lnTo>
                    <a:pt x="298" y="11"/>
                  </a:lnTo>
                  <a:lnTo>
                    <a:pt x="303" y="14"/>
                  </a:lnTo>
                  <a:lnTo>
                    <a:pt x="308" y="17"/>
                  </a:lnTo>
                  <a:lnTo>
                    <a:pt x="315" y="31"/>
                  </a:lnTo>
                  <a:lnTo>
                    <a:pt x="315" y="36"/>
                  </a:lnTo>
                  <a:lnTo>
                    <a:pt x="316" y="38"/>
                  </a:lnTo>
                  <a:lnTo>
                    <a:pt x="321" y="47"/>
                  </a:lnTo>
                  <a:lnTo>
                    <a:pt x="321" y="50"/>
                  </a:lnTo>
                  <a:lnTo>
                    <a:pt x="323" y="50"/>
                  </a:lnTo>
                  <a:lnTo>
                    <a:pt x="324" y="53"/>
                  </a:lnTo>
                  <a:lnTo>
                    <a:pt x="325" y="64"/>
                  </a:lnTo>
                  <a:lnTo>
                    <a:pt x="329" y="79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68" y="117"/>
                  </a:lnTo>
                  <a:lnTo>
                    <a:pt x="372" y="120"/>
                  </a:lnTo>
                  <a:lnTo>
                    <a:pt x="383" y="139"/>
                  </a:lnTo>
                  <a:lnTo>
                    <a:pt x="395" y="150"/>
                  </a:lnTo>
                  <a:lnTo>
                    <a:pt x="399" y="153"/>
                  </a:lnTo>
                  <a:lnTo>
                    <a:pt x="399" y="155"/>
                  </a:lnTo>
                  <a:lnTo>
                    <a:pt x="403" y="158"/>
                  </a:lnTo>
                  <a:lnTo>
                    <a:pt x="404" y="160"/>
                  </a:lnTo>
                  <a:lnTo>
                    <a:pt x="409" y="155"/>
                  </a:lnTo>
                  <a:lnTo>
                    <a:pt x="411" y="147"/>
                  </a:lnTo>
                  <a:lnTo>
                    <a:pt x="414" y="139"/>
                  </a:lnTo>
                  <a:lnTo>
                    <a:pt x="418" y="136"/>
                  </a:lnTo>
                  <a:lnTo>
                    <a:pt x="422" y="139"/>
                  </a:lnTo>
                  <a:lnTo>
                    <a:pt x="423" y="134"/>
                  </a:lnTo>
                  <a:lnTo>
                    <a:pt x="423" y="127"/>
                  </a:lnTo>
                  <a:lnTo>
                    <a:pt x="428" y="123"/>
                  </a:lnTo>
                  <a:lnTo>
                    <a:pt x="435" y="121"/>
                  </a:lnTo>
                  <a:lnTo>
                    <a:pt x="443" y="113"/>
                  </a:lnTo>
                  <a:lnTo>
                    <a:pt x="447" y="100"/>
                  </a:lnTo>
                  <a:lnTo>
                    <a:pt x="465" y="99"/>
                  </a:lnTo>
                  <a:lnTo>
                    <a:pt x="477" y="100"/>
                  </a:lnTo>
                  <a:lnTo>
                    <a:pt x="488" y="99"/>
                  </a:lnTo>
                  <a:lnTo>
                    <a:pt x="490" y="98"/>
                  </a:lnTo>
                  <a:lnTo>
                    <a:pt x="488" y="108"/>
                  </a:lnTo>
                  <a:lnTo>
                    <a:pt x="481" y="128"/>
                  </a:lnTo>
                  <a:lnTo>
                    <a:pt x="495" y="154"/>
                  </a:lnTo>
                  <a:lnTo>
                    <a:pt x="496" y="174"/>
                  </a:lnTo>
                  <a:lnTo>
                    <a:pt x="491" y="217"/>
                  </a:lnTo>
                  <a:lnTo>
                    <a:pt x="488" y="227"/>
                  </a:lnTo>
                  <a:lnTo>
                    <a:pt x="483" y="236"/>
                  </a:lnTo>
                  <a:lnTo>
                    <a:pt x="479" y="248"/>
                  </a:lnTo>
                  <a:lnTo>
                    <a:pt x="479" y="260"/>
                  </a:lnTo>
                  <a:lnTo>
                    <a:pt x="481" y="261"/>
                  </a:lnTo>
                  <a:lnTo>
                    <a:pt x="488" y="258"/>
                  </a:lnTo>
                  <a:lnTo>
                    <a:pt x="498" y="252"/>
                  </a:lnTo>
                  <a:lnTo>
                    <a:pt x="504" y="246"/>
                  </a:lnTo>
                  <a:lnTo>
                    <a:pt x="506" y="246"/>
                  </a:lnTo>
                  <a:lnTo>
                    <a:pt x="506" y="244"/>
                  </a:lnTo>
                  <a:lnTo>
                    <a:pt x="522" y="234"/>
                  </a:lnTo>
                  <a:lnTo>
                    <a:pt x="583" y="214"/>
                  </a:lnTo>
                  <a:lnTo>
                    <a:pt x="593" y="213"/>
                  </a:lnTo>
                  <a:lnTo>
                    <a:pt x="646" y="217"/>
                  </a:lnTo>
                  <a:lnTo>
                    <a:pt x="688" y="213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5" name="Kebbi"/>
            <p:cNvSpPr>
              <a:spLocks/>
            </p:cNvSpPr>
            <p:nvPr/>
          </p:nvSpPr>
          <p:spPr bwMode="auto">
            <a:xfrm>
              <a:off x="-9256394" y="2128453"/>
              <a:ext cx="1245034" cy="1521420"/>
            </a:xfrm>
            <a:custGeom>
              <a:avLst/>
              <a:gdLst>
                <a:gd name="T0" fmla="*/ 71 w 770"/>
                <a:gd name="T1" fmla="*/ 634 h 941"/>
                <a:gd name="T2" fmla="*/ 5 w 770"/>
                <a:gd name="T3" fmla="*/ 553 h 941"/>
                <a:gd name="T4" fmla="*/ 8 w 770"/>
                <a:gd name="T5" fmla="*/ 516 h 941"/>
                <a:gd name="T6" fmla="*/ 55 w 770"/>
                <a:gd name="T7" fmla="*/ 453 h 941"/>
                <a:gd name="T8" fmla="*/ 55 w 770"/>
                <a:gd name="T9" fmla="*/ 430 h 941"/>
                <a:gd name="T10" fmla="*/ 43 w 770"/>
                <a:gd name="T11" fmla="*/ 416 h 941"/>
                <a:gd name="T12" fmla="*/ 51 w 770"/>
                <a:gd name="T13" fmla="*/ 384 h 941"/>
                <a:gd name="T14" fmla="*/ 48 w 770"/>
                <a:gd name="T15" fmla="*/ 329 h 941"/>
                <a:gd name="T16" fmla="*/ 120 w 770"/>
                <a:gd name="T17" fmla="*/ 163 h 941"/>
                <a:gd name="T18" fmla="*/ 199 w 770"/>
                <a:gd name="T19" fmla="*/ 5 h 941"/>
                <a:gd name="T20" fmla="*/ 263 w 770"/>
                <a:gd name="T21" fmla="*/ 0 h 941"/>
                <a:gd name="T22" fmla="*/ 320 w 770"/>
                <a:gd name="T23" fmla="*/ 35 h 941"/>
                <a:gd name="T24" fmla="*/ 362 w 770"/>
                <a:gd name="T25" fmla="*/ 53 h 941"/>
                <a:gd name="T26" fmla="*/ 393 w 770"/>
                <a:gd name="T27" fmla="*/ 32 h 941"/>
                <a:gd name="T28" fmla="*/ 401 w 770"/>
                <a:gd name="T29" fmla="*/ 55 h 941"/>
                <a:gd name="T30" fmla="*/ 397 w 770"/>
                <a:gd name="T31" fmla="*/ 76 h 941"/>
                <a:gd name="T32" fmla="*/ 409 w 770"/>
                <a:gd name="T33" fmla="*/ 134 h 941"/>
                <a:gd name="T34" fmla="*/ 412 w 770"/>
                <a:gd name="T35" fmla="*/ 227 h 941"/>
                <a:gd name="T36" fmla="*/ 354 w 770"/>
                <a:gd name="T37" fmla="*/ 255 h 941"/>
                <a:gd name="T38" fmla="*/ 322 w 770"/>
                <a:gd name="T39" fmla="*/ 465 h 941"/>
                <a:gd name="T40" fmla="*/ 356 w 770"/>
                <a:gd name="T41" fmla="*/ 501 h 941"/>
                <a:gd name="T42" fmla="*/ 436 w 770"/>
                <a:gd name="T43" fmla="*/ 462 h 941"/>
                <a:gd name="T44" fmla="*/ 453 w 770"/>
                <a:gd name="T45" fmla="*/ 465 h 941"/>
                <a:gd name="T46" fmla="*/ 481 w 770"/>
                <a:gd name="T47" fmla="*/ 464 h 941"/>
                <a:gd name="T48" fmla="*/ 520 w 770"/>
                <a:gd name="T49" fmla="*/ 470 h 941"/>
                <a:gd name="T50" fmla="*/ 540 w 770"/>
                <a:gd name="T51" fmla="*/ 454 h 941"/>
                <a:gd name="T52" fmla="*/ 577 w 770"/>
                <a:gd name="T53" fmla="*/ 455 h 941"/>
                <a:gd name="T54" fmla="*/ 633 w 770"/>
                <a:gd name="T55" fmla="*/ 483 h 941"/>
                <a:gd name="T56" fmla="*/ 711 w 770"/>
                <a:gd name="T57" fmla="*/ 480 h 941"/>
                <a:gd name="T58" fmla="*/ 727 w 770"/>
                <a:gd name="T59" fmla="*/ 541 h 941"/>
                <a:gd name="T60" fmla="*/ 770 w 770"/>
                <a:gd name="T61" fmla="*/ 637 h 941"/>
                <a:gd name="T62" fmla="*/ 738 w 770"/>
                <a:gd name="T63" fmla="*/ 643 h 941"/>
                <a:gd name="T64" fmla="*/ 707 w 770"/>
                <a:gd name="T65" fmla="*/ 657 h 941"/>
                <a:gd name="T66" fmla="*/ 597 w 770"/>
                <a:gd name="T67" fmla="*/ 680 h 941"/>
                <a:gd name="T68" fmla="*/ 590 w 770"/>
                <a:gd name="T69" fmla="*/ 625 h 941"/>
                <a:gd name="T70" fmla="*/ 547 w 770"/>
                <a:gd name="T71" fmla="*/ 567 h 941"/>
                <a:gd name="T72" fmla="*/ 390 w 770"/>
                <a:gd name="T73" fmla="*/ 621 h 941"/>
                <a:gd name="T74" fmla="*/ 459 w 770"/>
                <a:gd name="T75" fmla="*/ 648 h 941"/>
                <a:gd name="T76" fmla="*/ 477 w 770"/>
                <a:gd name="T77" fmla="*/ 660 h 941"/>
                <a:gd name="T78" fmla="*/ 471 w 770"/>
                <a:gd name="T79" fmla="*/ 712 h 941"/>
                <a:gd name="T80" fmla="*/ 460 w 770"/>
                <a:gd name="T81" fmla="*/ 759 h 941"/>
                <a:gd name="T82" fmla="*/ 404 w 770"/>
                <a:gd name="T83" fmla="*/ 789 h 941"/>
                <a:gd name="T84" fmla="*/ 421 w 770"/>
                <a:gd name="T85" fmla="*/ 850 h 941"/>
                <a:gd name="T86" fmla="*/ 403 w 770"/>
                <a:gd name="T87" fmla="*/ 899 h 941"/>
                <a:gd name="T88" fmla="*/ 354 w 770"/>
                <a:gd name="T89" fmla="*/ 933 h 941"/>
                <a:gd name="T90" fmla="*/ 328 w 770"/>
                <a:gd name="T91" fmla="*/ 911 h 941"/>
                <a:gd name="T92" fmla="*/ 310 w 770"/>
                <a:gd name="T93" fmla="*/ 866 h 941"/>
                <a:gd name="T94" fmla="*/ 357 w 770"/>
                <a:gd name="T95" fmla="*/ 794 h 941"/>
                <a:gd name="T96" fmla="*/ 369 w 770"/>
                <a:gd name="T97" fmla="*/ 772 h 941"/>
                <a:gd name="T98" fmla="*/ 358 w 770"/>
                <a:gd name="T99" fmla="*/ 693 h 941"/>
                <a:gd name="T100" fmla="*/ 178 w 770"/>
                <a:gd name="T101" fmla="*/ 669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0" h="941">
                  <a:moveTo>
                    <a:pt x="102" y="635"/>
                  </a:moveTo>
                  <a:lnTo>
                    <a:pt x="75" y="632"/>
                  </a:lnTo>
                  <a:lnTo>
                    <a:pt x="72" y="634"/>
                  </a:lnTo>
                  <a:lnTo>
                    <a:pt x="71" y="634"/>
                  </a:lnTo>
                  <a:lnTo>
                    <a:pt x="68" y="635"/>
                  </a:lnTo>
                  <a:lnTo>
                    <a:pt x="66" y="634"/>
                  </a:lnTo>
                  <a:lnTo>
                    <a:pt x="59" y="627"/>
                  </a:lnTo>
                  <a:lnTo>
                    <a:pt x="5" y="553"/>
                  </a:lnTo>
                  <a:lnTo>
                    <a:pt x="1" y="545"/>
                  </a:lnTo>
                  <a:lnTo>
                    <a:pt x="0" y="538"/>
                  </a:lnTo>
                  <a:lnTo>
                    <a:pt x="6" y="521"/>
                  </a:lnTo>
                  <a:lnTo>
                    <a:pt x="8" y="516"/>
                  </a:lnTo>
                  <a:lnTo>
                    <a:pt x="12" y="503"/>
                  </a:lnTo>
                  <a:lnTo>
                    <a:pt x="33" y="468"/>
                  </a:lnTo>
                  <a:lnTo>
                    <a:pt x="39" y="461"/>
                  </a:lnTo>
                  <a:lnTo>
                    <a:pt x="55" y="453"/>
                  </a:lnTo>
                  <a:lnTo>
                    <a:pt x="58" y="448"/>
                  </a:lnTo>
                  <a:lnTo>
                    <a:pt x="60" y="442"/>
                  </a:lnTo>
                  <a:lnTo>
                    <a:pt x="59" y="436"/>
                  </a:lnTo>
                  <a:lnTo>
                    <a:pt x="55" y="430"/>
                  </a:lnTo>
                  <a:lnTo>
                    <a:pt x="48" y="423"/>
                  </a:lnTo>
                  <a:lnTo>
                    <a:pt x="47" y="422"/>
                  </a:lnTo>
                  <a:lnTo>
                    <a:pt x="44" y="418"/>
                  </a:lnTo>
                  <a:lnTo>
                    <a:pt x="43" y="416"/>
                  </a:lnTo>
                  <a:lnTo>
                    <a:pt x="42" y="398"/>
                  </a:lnTo>
                  <a:lnTo>
                    <a:pt x="43" y="393"/>
                  </a:lnTo>
                  <a:lnTo>
                    <a:pt x="46" y="389"/>
                  </a:lnTo>
                  <a:lnTo>
                    <a:pt x="51" y="384"/>
                  </a:lnTo>
                  <a:lnTo>
                    <a:pt x="56" y="374"/>
                  </a:lnTo>
                  <a:lnTo>
                    <a:pt x="55" y="363"/>
                  </a:lnTo>
                  <a:lnTo>
                    <a:pt x="47" y="341"/>
                  </a:lnTo>
                  <a:lnTo>
                    <a:pt x="48" y="329"/>
                  </a:lnTo>
                  <a:lnTo>
                    <a:pt x="55" y="289"/>
                  </a:lnTo>
                  <a:lnTo>
                    <a:pt x="53" y="214"/>
                  </a:lnTo>
                  <a:lnTo>
                    <a:pt x="54" y="211"/>
                  </a:lnTo>
                  <a:lnTo>
                    <a:pt x="120" y="163"/>
                  </a:lnTo>
                  <a:lnTo>
                    <a:pt x="139" y="144"/>
                  </a:lnTo>
                  <a:lnTo>
                    <a:pt x="187" y="69"/>
                  </a:lnTo>
                  <a:lnTo>
                    <a:pt x="196" y="6"/>
                  </a:lnTo>
                  <a:lnTo>
                    <a:pt x="199" y="5"/>
                  </a:lnTo>
                  <a:lnTo>
                    <a:pt x="222" y="4"/>
                  </a:lnTo>
                  <a:lnTo>
                    <a:pt x="241" y="8"/>
                  </a:lnTo>
                  <a:lnTo>
                    <a:pt x="252" y="3"/>
                  </a:lnTo>
                  <a:lnTo>
                    <a:pt x="263" y="0"/>
                  </a:lnTo>
                  <a:lnTo>
                    <a:pt x="272" y="8"/>
                  </a:lnTo>
                  <a:lnTo>
                    <a:pt x="281" y="16"/>
                  </a:lnTo>
                  <a:lnTo>
                    <a:pt x="300" y="26"/>
                  </a:lnTo>
                  <a:lnTo>
                    <a:pt x="320" y="35"/>
                  </a:lnTo>
                  <a:lnTo>
                    <a:pt x="332" y="37"/>
                  </a:lnTo>
                  <a:lnTo>
                    <a:pt x="342" y="41"/>
                  </a:lnTo>
                  <a:lnTo>
                    <a:pt x="352" y="48"/>
                  </a:lnTo>
                  <a:lnTo>
                    <a:pt x="362" y="53"/>
                  </a:lnTo>
                  <a:lnTo>
                    <a:pt x="375" y="53"/>
                  </a:lnTo>
                  <a:lnTo>
                    <a:pt x="383" y="48"/>
                  </a:lnTo>
                  <a:lnTo>
                    <a:pt x="388" y="41"/>
                  </a:lnTo>
                  <a:lnTo>
                    <a:pt x="393" y="32"/>
                  </a:lnTo>
                  <a:lnTo>
                    <a:pt x="401" y="30"/>
                  </a:lnTo>
                  <a:lnTo>
                    <a:pt x="406" y="37"/>
                  </a:lnTo>
                  <a:lnTo>
                    <a:pt x="405" y="46"/>
                  </a:lnTo>
                  <a:lnTo>
                    <a:pt x="401" y="55"/>
                  </a:lnTo>
                  <a:lnTo>
                    <a:pt x="400" y="61"/>
                  </a:lnTo>
                  <a:lnTo>
                    <a:pt x="400" y="66"/>
                  </a:lnTo>
                  <a:lnTo>
                    <a:pt x="399" y="71"/>
                  </a:lnTo>
                  <a:lnTo>
                    <a:pt x="397" y="76"/>
                  </a:lnTo>
                  <a:lnTo>
                    <a:pt x="394" y="87"/>
                  </a:lnTo>
                  <a:lnTo>
                    <a:pt x="392" y="98"/>
                  </a:lnTo>
                  <a:lnTo>
                    <a:pt x="402" y="115"/>
                  </a:lnTo>
                  <a:lnTo>
                    <a:pt x="409" y="134"/>
                  </a:lnTo>
                  <a:lnTo>
                    <a:pt x="406" y="155"/>
                  </a:lnTo>
                  <a:lnTo>
                    <a:pt x="403" y="168"/>
                  </a:lnTo>
                  <a:lnTo>
                    <a:pt x="402" y="178"/>
                  </a:lnTo>
                  <a:lnTo>
                    <a:pt x="412" y="227"/>
                  </a:lnTo>
                  <a:lnTo>
                    <a:pt x="409" y="250"/>
                  </a:lnTo>
                  <a:lnTo>
                    <a:pt x="397" y="256"/>
                  </a:lnTo>
                  <a:lnTo>
                    <a:pt x="376" y="250"/>
                  </a:lnTo>
                  <a:lnTo>
                    <a:pt x="354" y="255"/>
                  </a:lnTo>
                  <a:lnTo>
                    <a:pt x="344" y="274"/>
                  </a:lnTo>
                  <a:lnTo>
                    <a:pt x="346" y="389"/>
                  </a:lnTo>
                  <a:lnTo>
                    <a:pt x="336" y="436"/>
                  </a:lnTo>
                  <a:lnTo>
                    <a:pt x="322" y="465"/>
                  </a:lnTo>
                  <a:lnTo>
                    <a:pt x="319" y="493"/>
                  </a:lnTo>
                  <a:lnTo>
                    <a:pt x="330" y="504"/>
                  </a:lnTo>
                  <a:lnTo>
                    <a:pt x="343" y="509"/>
                  </a:lnTo>
                  <a:lnTo>
                    <a:pt x="356" y="501"/>
                  </a:lnTo>
                  <a:lnTo>
                    <a:pt x="366" y="487"/>
                  </a:lnTo>
                  <a:lnTo>
                    <a:pt x="424" y="463"/>
                  </a:lnTo>
                  <a:lnTo>
                    <a:pt x="430" y="461"/>
                  </a:lnTo>
                  <a:lnTo>
                    <a:pt x="436" y="462"/>
                  </a:lnTo>
                  <a:lnTo>
                    <a:pt x="441" y="465"/>
                  </a:lnTo>
                  <a:lnTo>
                    <a:pt x="444" y="464"/>
                  </a:lnTo>
                  <a:lnTo>
                    <a:pt x="448" y="463"/>
                  </a:lnTo>
                  <a:lnTo>
                    <a:pt x="453" y="465"/>
                  </a:lnTo>
                  <a:lnTo>
                    <a:pt x="456" y="470"/>
                  </a:lnTo>
                  <a:lnTo>
                    <a:pt x="463" y="469"/>
                  </a:lnTo>
                  <a:lnTo>
                    <a:pt x="469" y="466"/>
                  </a:lnTo>
                  <a:lnTo>
                    <a:pt x="481" y="464"/>
                  </a:lnTo>
                  <a:lnTo>
                    <a:pt x="493" y="468"/>
                  </a:lnTo>
                  <a:lnTo>
                    <a:pt x="498" y="472"/>
                  </a:lnTo>
                  <a:lnTo>
                    <a:pt x="504" y="473"/>
                  </a:lnTo>
                  <a:lnTo>
                    <a:pt x="520" y="470"/>
                  </a:lnTo>
                  <a:lnTo>
                    <a:pt x="527" y="469"/>
                  </a:lnTo>
                  <a:lnTo>
                    <a:pt x="532" y="466"/>
                  </a:lnTo>
                  <a:lnTo>
                    <a:pt x="534" y="459"/>
                  </a:lnTo>
                  <a:lnTo>
                    <a:pt x="540" y="454"/>
                  </a:lnTo>
                  <a:lnTo>
                    <a:pt x="547" y="454"/>
                  </a:lnTo>
                  <a:lnTo>
                    <a:pt x="553" y="457"/>
                  </a:lnTo>
                  <a:lnTo>
                    <a:pt x="560" y="457"/>
                  </a:lnTo>
                  <a:lnTo>
                    <a:pt x="577" y="455"/>
                  </a:lnTo>
                  <a:lnTo>
                    <a:pt x="585" y="461"/>
                  </a:lnTo>
                  <a:lnTo>
                    <a:pt x="589" y="469"/>
                  </a:lnTo>
                  <a:lnTo>
                    <a:pt x="614" y="480"/>
                  </a:lnTo>
                  <a:lnTo>
                    <a:pt x="633" y="483"/>
                  </a:lnTo>
                  <a:lnTo>
                    <a:pt x="678" y="481"/>
                  </a:lnTo>
                  <a:lnTo>
                    <a:pt x="683" y="478"/>
                  </a:lnTo>
                  <a:lnTo>
                    <a:pt x="688" y="477"/>
                  </a:lnTo>
                  <a:lnTo>
                    <a:pt x="711" y="480"/>
                  </a:lnTo>
                  <a:lnTo>
                    <a:pt x="722" y="484"/>
                  </a:lnTo>
                  <a:lnTo>
                    <a:pt x="736" y="498"/>
                  </a:lnTo>
                  <a:lnTo>
                    <a:pt x="734" y="518"/>
                  </a:lnTo>
                  <a:lnTo>
                    <a:pt x="727" y="541"/>
                  </a:lnTo>
                  <a:lnTo>
                    <a:pt x="733" y="550"/>
                  </a:lnTo>
                  <a:lnTo>
                    <a:pt x="744" y="555"/>
                  </a:lnTo>
                  <a:lnTo>
                    <a:pt x="768" y="591"/>
                  </a:lnTo>
                  <a:lnTo>
                    <a:pt x="770" y="637"/>
                  </a:lnTo>
                  <a:lnTo>
                    <a:pt x="761" y="631"/>
                  </a:lnTo>
                  <a:lnTo>
                    <a:pt x="751" y="632"/>
                  </a:lnTo>
                  <a:lnTo>
                    <a:pt x="745" y="635"/>
                  </a:lnTo>
                  <a:lnTo>
                    <a:pt x="738" y="643"/>
                  </a:lnTo>
                  <a:lnTo>
                    <a:pt x="735" y="648"/>
                  </a:lnTo>
                  <a:lnTo>
                    <a:pt x="727" y="654"/>
                  </a:lnTo>
                  <a:lnTo>
                    <a:pt x="717" y="655"/>
                  </a:lnTo>
                  <a:lnTo>
                    <a:pt x="707" y="657"/>
                  </a:lnTo>
                  <a:lnTo>
                    <a:pt x="654" y="680"/>
                  </a:lnTo>
                  <a:lnTo>
                    <a:pt x="635" y="683"/>
                  </a:lnTo>
                  <a:lnTo>
                    <a:pt x="604" y="683"/>
                  </a:lnTo>
                  <a:lnTo>
                    <a:pt x="597" y="680"/>
                  </a:lnTo>
                  <a:lnTo>
                    <a:pt x="593" y="670"/>
                  </a:lnTo>
                  <a:lnTo>
                    <a:pt x="592" y="658"/>
                  </a:lnTo>
                  <a:lnTo>
                    <a:pt x="594" y="635"/>
                  </a:lnTo>
                  <a:lnTo>
                    <a:pt x="590" y="625"/>
                  </a:lnTo>
                  <a:lnTo>
                    <a:pt x="580" y="618"/>
                  </a:lnTo>
                  <a:lnTo>
                    <a:pt x="569" y="600"/>
                  </a:lnTo>
                  <a:lnTo>
                    <a:pt x="565" y="577"/>
                  </a:lnTo>
                  <a:lnTo>
                    <a:pt x="547" y="567"/>
                  </a:lnTo>
                  <a:lnTo>
                    <a:pt x="525" y="566"/>
                  </a:lnTo>
                  <a:lnTo>
                    <a:pt x="436" y="584"/>
                  </a:lnTo>
                  <a:lnTo>
                    <a:pt x="395" y="602"/>
                  </a:lnTo>
                  <a:lnTo>
                    <a:pt x="390" y="621"/>
                  </a:lnTo>
                  <a:lnTo>
                    <a:pt x="409" y="635"/>
                  </a:lnTo>
                  <a:lnTo>
                    <a:pt x="431" y="644"/>
                  </a:lnTo>
                  <a:lnTo>
                    <a:pt x="454" y="648"/>
                  </a:lnTo>
                  <a:lnTo>
                    <a:pt x="459" y="648"/>
                  </a:lnTo>
                  <a:lnTo>
                    <a:pt x="463" y="650"/>
                  </a:lnTo>
                  <a:lnTo>
                    <a:pt x="466" y="655"/>
                  </a:lnTo>
                  <a:lnTo>
                    <a:pt x="469" y="657"/>
                  </a:lnTo>
                  <a:lnTo>
                    <a:pt x="477" y="660"/>
                  </a:lnTo>
                  <a:lnTo>
                    <a:pt x="481" y="669"/>
                  </a:lnTo>
                  <a:lnTo>
                    <a:pt x="484" y="681"/>
                  </a:lnTo>
                  <a:lnTo>
                    <a:pt x="485" y="693"/>
                  </a:lnTo>
                  <a:lnTo>
                    <a:pt x="471" y="712"/>
                  </a:lnTo>
                  <a:lnTo>
                    <a:pt x="483" y="727"/>
                  </a:lnTo>
                  <a:lnTo>
                    <a:pt x="489" y="747"/>
                  </a:lnTo>
                  <a:lnTo>
                    <a:pt x="481" y="753"/>
                  </a:lnTo>
                  <a:lnTo>
                    <a:pt x="460" y="759"/>
                  </a:lnTo>
                  <a:lnTo>
                    <a:pt x="440" y="768"/>
                  </a:lnTo>
                  <a:lnTo>
                    <a:pt x="419" y="765"/>
                  </a:lnTo>
                  <a:lnTo>
                    <a:pt x="409" y="768"/>
                  </a:lnTo>
                  <a:lnTo>
                    <a:pt x="404" y="789"/>
                  </a:lnTo>
                  <a:lnTo>
                    <a:pt x="405" y="811"/>
                  </a:lnTo>
                  <a:lnTo>
                    <a:pt x="404" y="821"/>
                  </a:lnTo>
                  <a:lnTo>
                    <a:pt x="406" y="832"/>
                  </a:lnTo>
                  <a:lnTo>
                    <a:pt x="421" y="850"/>
                  </a:lnTo>
                  <a:lnTo>
                    <a:pt x="430" y="870"/>
                  </a:lnTo>
                  <a:lnTo>
                    <a:pt x="422" y="890"/>
                  </a:lnTo>
                  <a:lnTo>
                    <a:pt x="414" y="896"/>
                  </a:lnTo>
                  <a:lnTo>
                    <a:pt x="403" y="899"/>
                  </a:lnTo>
                  <a:lnTo>
                    <a:pt x="369" y="907"/>
                  </a:lnTo>
                  <a:lnTo>
                    <a:pt x="358" y="910"/>
                  </a:lnTo>
                  <a:lnTo>
                    <a:pt x="354" y="921"/>
                  </a:lnTo>
                  <a:lnTo>
                    <a:pt x="354" y="933"/>
                  </a:lnTo>
                  <a:lnTo>
                    <a:pt x="350" y="941"/>
                  </a:lnTo>
                  <a:lnTo>
                    <a:pt x="330" y="940"/>
                  </a:lnTo>
                  <a:lnTo>
                    <a:pt x="323" y="934"/>
                  </a:lnTo>
                  <a:lnTo>
                    <a:pt x="328" y="911"/>
                  </a:lnTo>
                  <a:lnTo>
                    <a:pt x="330" y="890"/>
                  </a:lnTo>
                  <a:lnTo>
                    <a:pt x="323" y="883"/>
                  </a:lnTo>
                  <a:lnTo>
                    <a:pt x="315" y="877"/>
                  </a:lnTo>
                  <a:lnTo>
                    <a:pt x="310" y="866"/>
                  </a:lnTo>
                  <a:lnTo>
                    <a:pt x="309" y="855"/>
                  </a:lnTo>
                  <a:lnTo>
                    <a:pt x="311" y="833"/>
                  </a:lnTo>
                  <a:lnTo>
                    <a:pt x="322" y="813"/>
                  </a:lnTo>
                  <a:lnTo>
                    <a:pt x="357" y="794"/>
                  </a:lnTo>
                  <a:lnTo>
                    <a:pt x="358" y="789"/>
                  </a:lnTo>
                  <a:lnTo>
                    <a:pt x="365" y="780"/>
                  </a:lnTo>
                  <a:lnTo>
                    <a:pt x="367" y="776"/>
                  </a:lnTo>
                  <a:lnTo>
                    <a:pt x="369" y="772"/>
                  </a:lnTo>
                  <a:lnTo>
                    <a:pt x="369" y="760"/>
                  </a:lnTo>
                  <a:lnTo>
                    <a:pt x="379" y="707"/>
                  </a:lnTo>
                  <a:lnTo>
                    <a:pt x="378" y="699"/>
                  </a:lnTo>
                  <a:lnTo>
                    <a:pt x="358" y="693"/>
                  </a:lnTo>
                  <a:lnTo>
                    <a:pt x="322" y="670"/>
                  </a:lnTo>
                  <a:lnTo>
                    <a:pt x="292" y="661"/>
                  </a:lnTo>
                  <a:lnTo>
                    <a:pt x="260" y="667"/>
                  </a:lnTo>
                  <a:lnTo>
                    <a:pt x="178" y="669"/>
                  </a:lnTo>
                  <a:lnTo>
                    <a:pt x="162" y="667"/>
                  </a:lnTo>
                  <a:lnTo>
                    <a:pt x="129" y="651"/>
                  </a:lnTo>
                  <a:lnTo>
                    <a:pt x="102" y="635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6" name="Katsina"/>
            <p:cNvSpPr>
              <a:spLocks/>
            </p:cNvSpPr>
            <p:nvPr/>
          </p:nvSpPr>
          <p:spPr bwMode="auto">
            <a:xfrm>
              <a:off x="-7599044" y="2071865"/>
              <a:ext cx="1021899" cy="1086497"/>
            </a:xfrm>
            <a:custGeom>
              <a:avLst/>
              <a:gdLst>
                <a:gd name="T0" fmla="*/ 56 w 632"/>
                <a:gd name="T1" fmla="*/ 105 h 672"/>
                <a:gd name="T2" fmla="*/ 79 w 632"/>
                <a:gd name="T3" fmla="*/ 90 h 672"/>
                <a:gd name="T4" fmla="*/ 135 w 632"/>
                <a:gd name="T5" fmla="*/ 73 h 672"/>
                <a:gd name="T6" fmla="*/ 264 w 632"/>
                <a:gd name="T7" fmla="*/ 6 h 672"/>
                <a:gd name="T8" fmla="*/ 362 w 632"/>
                <a:gd name="T9" fmla="*/ 10 h 672"/>
                <a:gd name="T10" fmla="*/ 380 w 632"/>
                <a:gd name="T11" fmla="*/ 22 h 672"/>
                <a:gd name="T12" fmla="*/ 403 w 632"/>
                <a:gd name="T13" fmla="*/ 38 h 672"/>
                <a:gd name="T14" fmla="*/ 420 w 632"/>
                <a:gd name="T15" fmla="*/ 45 h 672"/>
                <a:gd name="T16" fmla="*/ 460 w 632"/>
                <a:gd name="T17" fmla="*/ 83 h 672"/>
                <a:gd name="T18" fmla="*/ 465 w 632"/>
                <a:gd name="T19" fmla="*/ 83 h 672"/>
                <a:gd name="T20" fmla="*/ 480 w 632"/>
                <a:gd name="T21" fmla="*/ 80 h 672"/>
                <a:gd name="T22" fmla="*/ 499 w 632"/>
                <a:gd name="T23" fmla="*/ 84 h 672"/>
                <a:gd name="T24" fmla="*/ 527 w 632"/>
                <a:gd name="T25" fmla="*/ 115 h 672"/>
                <a:gd name="T26" fmla="*/ 622 w 632"/>
                <a:gd name="T27" fmla="*/ 149 h 672"/>
                <a:gd name="T28" fmla="*/ 630 w 632"/>
                <a:gd name="T29" fmla="*/ 159 h 672"/>
                <a:gd name="T30" fmla="*/ 619 w 632"/>
                <a:gd name="T31" fmla="*/ 168 h 672"/>
                <a:gd name="T32" fmla="*/ 599 w 632"/>
                <a:gd name="T33" fmla="*/ 189 h 672"/>
                <a:gd name="T34" fmla="*/ 557 w 632"/>
                <a:gd name="T35" fmla="*/ 200 h 672"/>
                <a:gd name="T36" fmla="*/ 540 w 632"/>
                <a:gd name="T37" fmla="*/ 197 h 672"/>
                <a:gd name="T38" fmla="*/ 518 w 632"/>
                <a:gd name="T39" fmla="*/ 189 h 672"/>
                <a:gd name="T40" fmla="*/ 499 w 632"/>
                <a:gd name="T41" fmla="*/ 156 h 672"/>
                <a:gd name="T42" fmla="*/ 412 w 632"/>
                <a:gd name="T43" fmla="*/ 156 h 672"/>
                <a:gd name="T44" fmla="*/ 373 w 632"/>
                <a:gd name="T45" fmla="*/ 188 h 672"/>
                <a:gd name="T46" fmla="*/ 413 w 632"/>
                <a:gd name="T47" fmla="*/ 217 h 672"/>
                <a:gd name="T48" fmla="*/ 409 w 632"/>
                <a:gd name="T49" fmla="*/ 233 h 672"/>
                <a:gd name="T50" fmla="*/ 378 w 632"/>
                <a:gd name="T51" fmla="*/ 280 h 672"/>
                <a:gd name="T52" fmla="*/ 291 w 632"/>
                <a:gd name="T53" fmla="*/ 325 h 672"/>
                <a:gd name="T54" fmla="*/ 288 w 632"/>
                <a:gd name="T55" fmla="*/ 430 h 672"/>
                <a:gd name="T56" fmla="*/ 296 w 632"/>
                <a:gd name="T57" fmla="*/ 465 h 672"/>
                <a:gd name="T58" fmla="*/ 298 w 632"/>
                <a:gd name="T59" fmla="*/ 479 h 672"/>
                <a:gd name="T60" fmla="*/ 293 w 632"/>
                <a:gd name="T61" fmla="*/ 513 h 672"/>
                <a:gd name="T62" fmla="*/ 253 w 632"/>
                <a:gd name="T63" fmla="*/ 536 h 672"/>
                <a:gd name="T64" fmla="*/ 250 w 632"/>
                <a:gd name="T65" fmla="*/ 580 h 672"/>
                <a:gd name="T66" fmla="*/ 237 w 632"/>
                <a:gd name="T67" fmla="*/ 623 h 672"/>
                <a:gd name="T68" fmla="*/ 211 w 632"/>
                <a:gd name="T69" fmla="*/ 604 h 672"/>
                <a:gd name="T70" fmla="*/ 159 w 632"/>
                <a:gd name="T71" fmla="*/ 605 h 672"/>
                <a:gd name="T72" fmla="*/ 145 w 632"/>
                <a:gd name="T73" fmla="*/ 630 h 672"/>
                <a:gd name="T74" fmla="*/ 106 w 632"/>
                <a:gd name="T75" fmla="*/ 642 h 672"/>
                <a:gd name="T76" fmla="*/ 104 w 632"/>
                <a:gd name="T77" fmla="*/ 667 h 672"/>
                <a:gd name="T78" fmla="*/ 69 w 632"/>
                <a:gd name="T79" fmla="*/ 654 h 672"/>
                <a:gd name="T80" fmla="*/ 35 w 632"/>
                <a:gd name="T81" fmla="*/ 634 h 672"/>
                <a:gd name="T82" fmla="*/ 49 w 632"/>
                <a:gd name="T83" fmla="*/ 616 h 672"/>
                <a:gd name="T84" fmla="*/ 24 w 632"/>
                <a:gd name="T85" fmla="*/ 604 h 672"/>
                <a:gd name="T86" fmla="*/ 7 w 632"/>
                <a:gd name="T87" fmla="*/ 582 h 672"/>
                <a:gd name="T88" fmla="*/ 10 w 632"/>
                <a:gd name="T89" fmla="*/ 547 h 672"/>
                <a:gd name="T90" fmla="*/ 29 w 632"/>
                <a:gd name="T91" fmla="*/ 467 h 672"/>
                <a:gd name="T92" fmla="*/ 56 w 632"/>
                <a:gd name="T93" fmla="*/ 470 h 672"/>
                <a:gd name="T94" fmla="*/ 75 w 632"/>
                <a:gd name="T95" fmla="*/ 459 h 672"/>
                <a:gd name="T96" fmla="*/ 89 w 632"/>
                <a:gd name="T97" fmla="*/ 437 h 672"/>
                <a:gd name="T98" fmla="*/ 105 w 632"/>
                <a:gd name="T99" fmla="*/ 418 h 672"/>
                <a:gd name="T100" fmla="*/ 72 w 632"/>
                <a:gd name="T101" fmla="*/ 393 h 672"/>
                <a:gd name="T102" fmla="*/ 85 w 632"/>
                <a:gd name="T103" fmla="*/ 358 h 672"/>
                <a:gd name="T104" fmla="*/ 79 w 632"/>
                <a:gd name="T105" fmla="*/ 325 h 672"/>
                <a:gd name="T106" fmla="*/ 68 w 632"/>
                <a:gd name="T107" fmla="*/ 276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72">
                  <a:moveTo>
                    <a:pt x="61" y="261"/>
                  </a:moveTo>
                  <a:lnTo>
                    <a:pt x="51" y="137"/>
                  </a:lnTo>
                  <a:lnTo>
                    <a:pt x="56" y="105"/>
                  </a:lnTo>
                  <a:lnTo>
                    <a:pt x="59" y="105"/>
                  </a:lnTo>
                  <a:lnTo>
                    <a:pt x="65" y="102"/>
                  </a:lnTo>
                  <a:lnTo>
                    <a:pt x="79" y="90"/>
                  </a:lnTo>
                  <a:lnTo>
                    <a:pt x="97" y="69"/>
                  </a:lnTo>
                  <a:lnTo>
                    <a:pt x="104" y="67"/>
                  </a:lnTo>
                  <a:lnTo>
                    <a:pt x="135" y="73"/>
                  </a:lnTo>
                  <a:lnTo>
                    <a:pt x="146" y="73"/>
                  </a:lnTo>
                  <a:lnTo>
                    <a:pt x="156" y="70"/>
                  </a:lnTo>
                  <a:lnTo>
                    <a:pt x="264" y="6"/>
                  </a:lnTo>
                  <a:lnTo>
                    <a:pt x="275" y="1"/>
                  </a:lnTo>
                  <a:lnTo>
                    <a:pt x="286" y="0"/>
                  </a:lnTo>
                  <a:lnTo>
                    <a:pt x="362" y="10"/>
                  </a:lnTo>
                  <a:lnTo>
                    <a:pt x="370" y="14"/>
                  </a:lnTo>
                  <a:lnTo>
                    <a:pt x="373" y="16"/>
                  </a:lnTo>
                  <a:lnTo>
                    <a:pt x="380" y="22"/>
                  </a:lnTo>
                  <a:lnTo>
                    <a:pt x="388" y="29"/>
                  </a:lnTo>
                  <a:lnTo>
                    <a:pt x="399" y="36"/>
                  </a:lnTo>
                  <a:lnTo>
                    <a:pt x="403" y="38"/>
                  </a:lnTo>
                  <a:lnTo>
                    <a:pt x="412" y="40"/>
                  </a:lnTo>
                  <a:lnTo>
                    <a:pt x="416" y="42"/>
                  </a:lnTo>
                  <a:lnTo>
                    <a:pt x="420" y="45"/>
                  </a:lnTo>
                  <a:lnTo>
                    <a:pt x="427" y="54"/>
                  </a:lnTo>
                  <a:lnTo>
                    <a:pt x="458" y="81"/>
                  </a:lnTo>
                  <a:lnTo>
                    <a:pt x="460" y="83"/>
                  </a:lnTo>
                  <a:lnTo>
                    <a:pt x="463" y="84"/>
                  </a:lnTo>
                  <a:lnTo>
                    <a:pt x="464" y="84"/>
                  </a:lnTo>
                  <a:lnTo>
                    <a:pt x="465" y="83"/>
                  </a:lnTo>
                  <a:lnTo>
                    <a:pt x="469" y="82"/>
                  </a:lnTo>
                  <a:lnTo>
                    <a:pt x="472" y="80"/>
                  </a:lnTo>
                  <a:lnTo>
                    <a:pt x="480" y="80"/>
                  </a:lnTo>
                  <a:lnTo>
                    <a:pt x="484" y="80"/>
                  </a:lnTo>
                  <a:lnTo>
                    <a:pt x="492" y="81"/>
                  </a:lnTo>
                  <a:lnTo>
                    <a:pt x="499" y="84"/>
                  </a:lnTo>
                  <a:lnTo>
                    <a:pt x="511" y="94"/>
                  </a:lnTo>
                  <a:lnTo>
                    <a:pt x="517" y="100"/>
                  </a:lnTo>
                  <a:lnTo>
                    <a:pt x="527" y="115"/>
                  </a:lnTo>
                  <a:lnTo>
                    <a:pt x="532" y="121"/>
                  </a:lnTo>
                  <a:lnTo>
                    <a:pt x="542" y="127"/>
                  </a:lnTo>
                  <a:lnTo>
                    <a:pt x="622" y="149"/>
                  </a:lnTo>
                  <a:lnTo>
                    <a:pt x="632" y="151"/>
                  </a:lnTo>
                  <a:lnTo>
                    <a:pt x="632" y="154"/>
                  </a:lnTo>
                  <a:lnTo>
                    <a:pt x="630" y="159"/>
                  </a:lnTo>
                  <a:lnTo>
                    <a:pt x="625" y="161"/>
                  </a:lnTo>
                  <a:lnTo>
                    <a:pt x="622" y="164"/>
                  </a:lnTo>
                  <a:lnTo>
                    <a:pt x="619" y="168"/>
                  </a:lnTo>
                  <a:lnTo>
                    <a:pt x="617" y="174"/>
                  </a:lnTo>
                  <a:lnTo>
                    <a:pt x="614" y="179"/>
                  </a:lnTo>
                  <a:lnTo>
                    <a:pt x="599" y="189"/>
                  </a:lnTo>
                  <a:lnTo>
                    <a:pt x="585" y="197"/>
                  </a:lnTo>
                  <a:lnTo>
                    <a:pt x="570" y="201"/>
                  </a:lnTo>
                  <a:lnTo>
                    <a:pt x="557" y="200"/>
                  </a:lnTo>
                  <a:lnTo>
                    <a:pt x="553" y="196"/>
                  </a:lnTo>
                  <a:lnTo>
                    <a:pt x="549" y="191"/>
                  </a:lnTo>
                  <a:lnTo>
                    <a:pt x="540" y="197"/>
                  </a:lnTo>
                  <a:lnTo>
                    <a:pt x="533" y="197"/>
                  </a:lnTo>
                  <a:lnTo>
                    <a:pt x="526" y="193"/>
                  </a:lnTo>
                  <a:lnTo>
                    <a:pt x="518" y="189"/>
                  </a:lnTo>
                  <a:lnTo>
                    <a:pt x="510" y="176"/>
                  </a:lnTo>
                  <a:lnTo>
                    <a:pt x="505" y="161"/>
                  </a:lnTo>
                  <a:lnTo>
                    <a:pt x="499" y="156"/>
                  </a:lnTo>
                  <a:lnTo>
                    <a:pt x="453" y="158"/>
                  </a:lnTo>
                  <a:lnTo>
                    <a:pt x="433" y="155"/>
                  </a:lnTo>
                  <a:lnTo>
                    <a:pt x="412" y="156"/>
                  </a:lnTo>
                  <a:lnTo>
                    <a:pt x="380" y="160"/>
                  </a:lnTo>
                  <a:lnTo>
                    <a:pt x="376" y="168"/>
                  </a:lnTo>
                  <a:lnTo>
                    <a:pt x="373" y="188"/>
                  </a:lnTo>
                  <a:lnTo>
                    <a:pt x="374" y="207"/>
                  </a:lnTo>
                  <a:lnTo>
                    <a:pt x="389" y="217"/>
                  </a:lnTo>
                  <a:lnTo>
                    <a:pt x="413" y="217"/>
                  </a:lnTo>
                  <a:lnTo>
                    <a:pt x="420" y="224"/>
                  </a:lnTo>
                  <a:lnTo>
                    <a:pt x="423" y="233"/>
                  </a:lnTo>
                  <a:lnTo>
                    <a:pt x="409" y="233"/>
                  </a:lnTo>
                  <a:lnTo>
                    <a:pt x="395" y="238"/>
                  </a:lnTo>
                  <a:lnTo>
                    <a:pt x="387" y="250"/>
                  </a:lnTo>
                  <a:lnTo>
                    <a:pt x="378" y="280"/>
                  </a:lnTo>
                  <a:lnTo>
                    <a:pt x="367" y="290"/>
                  </a:lnTo>
                  <a:lnTo>
                    <a:pt x="314" y="309"/>
                  </a:lnTo>
                  <a:lnTo>
                    <a:pt x="291" y="325"/>
                  </a:lnTo>
                  <a:lnTo>
                    <a:pt x="287" y="338"/>
                  </a:lnTo>
                  <a:lnTo>
                    <a:pt x="290" y="368"/>
                  </a:lnTo>
                  <a:lnTo>
                    <a:pt x="288" y="430"/>
                  </a:lnTo>
                  <a:lnTo>
                    <a:pt x="294" y="450"/>
                  </a:lnTo>
                  <a:lnTo>
                    <a:pt x="296" y="459"/>
                  </a:lnTo>
                  <a:lnTo>
                    <a:pt x="296" y="465"/>
                  </a:lnTo>
                  <a:lnTo>
                    <a:pt x="294" y="471"/>
                  </a:lnTo>
                  <a:lnTo>
                    <a:pt x="295" y="475"/>
                  </a:lnTo>
                  <a:lnTo>
                    <a:pt x="298" y="479"/>
                  </a:lnTo>
                  <a:lnTo>
                    <a:pt x="305" y="498"/>
                  </a:lnTo>
                  <a:lnTo>
                    <a:pt x="306" y="510"/>
                  </a:lnTo>
                  <a:lnTo>
                    <a:pt x="293" y="513"/>
                  </a:lnTo>
                  <a:lnTo>
                    <a:pt x="276" y="521"/>
                  </a:lnTo>
                  <a:lnTo>
                    <a:pt x="262" y="524"/>
                  </a:lnTo>
                  <a:lnTo>
                    <a:pt x="253" y="536"/>
                  </a:lnTo>
                  <a:lnTo>
                    <a:pt x="248" y="550"/>
                  </a:lnTo>
                  <a:lnTo>
                    <a:pt x="246" y="565"/>
                  </a:lnTo>
                  <a:lnTo>
                    <a:pt x="250" y="580"/>
                  </a:lnTo>
                  <a:lnTo>
                    <a:pt x="272" y="597"/>
                  </a:lnTo>
                  <a:lnTo>
                    <a:pt x="261" y="612"/>
                  </a:lnTo>
                  <a:lnTo>
                    <a:pt x="237" y="623"/>
                  </a:lnTo>
                  <a:lnTo>
                    <a:pt x="228" y="619"/>
                  </a:lnTo>
                  <a:lnTo>
                    <a:pt x="222" y="611"/>
                  </a:lnTo>
                  <a:lnTo>
                    <a:pt x="211" y="604"/>
                  </a:lnTo>
                  <a:lnTo>
                    <a:pt x="200" y="598"/>
                  </a:lnTo>
                  <a:lnTo>
                    <a:pt x="178" y="594"/>
                  </a:lnTo>
                  <a:lnTo>
                    <a:pt x="159" y="605"/>
                  </a:lnTo>
                  <a:lnTo>
                    <a:pt x="154" y="615"/>
                  </a:lnTo>
                  <a:lnTo>
                    <a:pt x="153" y="626"/>
                  </a:lnTo>
                  <a:lnTo>
                    <a:pt x="145" y="630"/>
                  </a:lnTo>
                  <a:lnTo>
                    <a:pt x="133" y="627"/>
                  </a:lnTo>
                  <a:lnTo>
                    <a:pt x="111" y="626"/>
                  </a:lnTo>
                  <a:lnTo>
                    <a:pt x="106" y="642"/>
                  </a:lnTo>
                  <a:lnTo>
                    <a:pt x="111" y="649"/>
                  </a:lnTo>
                  <a:lnTo>
                    <a:pt x="111" y="659"/>
                  </a:lnTo>
                  <a:lnTo>
                    <a:pt x="104" y="667"/>
                  </a:lnTo>
                  <a:lnTo>
                    <a:pt x="93" y="672"/>
                  </a:lnTo>
                  <a:lnTo>
                    <a:pt x="84" y="670"/>
                  </a:lnTo>
                  <a:lnTo>
                    <a:pt x="69" y="654"/>
                  </a:lnTo>
                  <a:lnTo>
                    <a:pt x="58" y="648"/>
                  </a:lnTo>
                  <a:lnTo>
                    <a:pt x="36" y="642"/>
                  </a:lnTo>
                  <a:lnTo>
                    <a:pt x="35" y="634"/>
                  </a:lnTo>
                  <a:lnTo>
                    <a:pt x="43" y="625"/>
                  </a:lnTo>
                  <a:lnTo>
                    <a:pt x="48" y="622"/>
                  </a:lnTo>
                  <a:lnTo>
                    <a:pt x="49" y="616"/>
                  </a:lnTo>
                  <a:lnTo>
                    <a:pt x="46" y="608"/>
                  </a:lnTo>
                  <a:lnTo>
                    <a:pt x="39" y="604"/>
                  </a:lnTo>
                  <a:lnTo>
                    <a:pt x="24" y="604"/>
                  </a:lnTo>
                  <a:lnTo>
                    <a:pt x="16" y="602"/>
                  </a:lnTo>
                  <a:lnTo>
                    <a:pt x="2" y="595"/>
                  </a:lnTo>
                  <a:lnTo>
                    <a:pt x="7" y="582"/>
                  </a:lnTo>
                  <a:lnTo>
                    <a:pt x="9" y="567"/>
                  </a:lnTo>
                  <a:lnTo>
                    <a:pt x="8" y="557"/>
                  </a:lnTo>
                  <a:lnTo>
                    <a:pt x="10" y="547"/>
                  </a:lnTo>
                  <a:lnTo>
                    <a:pt x="0" y="528"/>
                  </a:lnTo>
                  <a:lnTo>
                    <a:pt x="11" y="475"/>
                  </a:lnTo>
                  <a:lnTo>
                    <a:pt x="29" y="467"/>
                  </a:lnTo>
                  <a:lnTo>
                    <a:pt x="51" y="467"/>
                  </a:lnTo>
                  <a:lnTo>
                    <a:pt x="53" y="467"/>
                  </a:lnTo>
                  <a:lnTo>
                    <a:pt x="56" y="470"/>
                  </a:lnTo>
                  <a:lnTo>
                    <a:pt x="58" y="471"/>
                  </a:lnTo>
                  <a:lnTo>
                    <a:pt x="63" y="469"/>
                  </a:lnTo>
                  <a:lnTo>
                    <a:pt x="75" y="459"/>
                  </a:lnTo>
                  <a:lnTo>
                    <a:pt x="82" y="452"/>
                  </a:lnTo>
                  <a:lnTo>
                    <a:pt x="84" y="442"/>
                  </a:lnTo>
                  <a:lnTo>
                    <a:pt x="89" y="437"/>
                  </a:lnTo>
                  <a:lnTo>
                    <a:pt x="100" y="439"/>
                  </a:lnTo>
                  <a:lnTo>
                    <a:pt x="108" y="436"/>
                  </a:lnTo>
                  <a:lnTo>
                    <a:pt x="105" y="418"/>
                  </a:lnTo>
                  <a:lnTo>
                    <a:pt x="88" y="406"/>
                  </a:lnTo>
                  <a:lnTo>
                    <a:pt x="78" y="400"/>
                  </a:lnTo>
                  <a:lnTo>
                    <a:pt x="72" y="393"/>
                  </a:lnTo>
                  <a:lnTo>
                    <a:pt x="77" y="383"/>
                  </a:lnTo>
                  <a:lnTo>
                    <a:pt x="83" y="367"/>
                  </a:lnTo>
                  <a:lnTo>
                    <a:pt x="85" y="358"/>
                  </a:lnTo>
                  <a:lnTo>
                    <a:pt x="83" y="349"/>
                  </a:lnTo>
                  <a:lnTo>
                    <a:pt x="81" y="340"/>
                  </a:lnTo>
                  <a:lnTo>
                    <a:pt x="79" y="325"/>
                  </a:lnTo>
                  <a:lnTo>
                    <a:pt x="75" y="310"/>
                  </a:lnTo>
                  <a:lnTo>
                    <a:pt x="66" y="294"/>
                  </a:lnTo>
                  <a:lnTo>
                    <a:pt x="68" y="276"/>
                  </a:lnTo>
                  <a:lnTo>
                    <a:pt x="61" y="261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7" name="Kano"/>
            <p:cNvSpPr>
              <a:spLocks/>
            </p:cNvSpPr>
            <p:nvPr/>
          </p:nvSpPr>
          <p:spPr bwMode="auto">
            <a:xfrm>
              <a:off x="-7201280" y="2445347"/>
              <a:ext cx="806847" cy="987872"/>
            </a:xfrm>
            <a:custGeom>
              <a:avLst/>
              <a:gdLst>
                <a:gd name="T0" fmla="*/ 26 w 499"/>
                <a:gd name="T1" fmla="*/ 366 h 611"/>
                <a:gd name="T2" fmla="*/ 2 w 499"/>
                <a:gd name="T3" fmla="*/ 319 h 611"/>
                <a:gd name="T4" fmla="*/ 30 w 499"/>
                <a:gd name="T5" fmla="*/ 290 h 611"/>
                <a:gd name="T6" fmla="*/ 59 w 499"/>
                <a:gd name="T7" fmla="*/ 267 h 611"/>
                <a:gd name="T8" fmla="*/ 48 w 499"/>
                <a:gd name="T9" fmla="*/ 240 h 611"/>
                <a:gd name="T10" fmla="*/ 48 w 499"/>
                <a:gd name="T11" fmla="*/ 219 h 611"/>
                <a:gd name="T12" fmla="*/ 41 w 499"/>
                <a:gd name="T13" fmla="*/ 107 h 611"/>
                <a:gd name="T14" fmla="*/ 121 w 499"/>
                <a:gd name="T15" fmla="*/ 59 h 611"/>
                <a:gd name="T16" fmla="*/ 149 w 499"/>
                <a:gd name="T17" fmla="*/ 7 h 611"/>
                <a:gd name="T18" fmla="*/ 193 w 499"/>
                <a:gd name="T19" fmla="*/ 29 h 611"/>
                <a:gd name="T20" fmla="*/ 196 w 499"/>
                <a:gd name="T21" fmla="*/ 42 h 611"/>
                <a:gd name="T22" fmla="*/ 210 w 499"/>
                <a:gd name="T23" fmla="*/ 25 h 611"/>
                <a:gd name="T24" fmla="*/ 252 w 499"/>
                <a:gd name="T25" fmla="*/ 0 h 611"/>
                <a:gd name="T26" fmla="*/ 296 w 499"/>
                <a:gd name="T27" fmla="*/ 12 h 611"/>
                <a:gd name="T28" fmla="*/ 300 w 499"/>
                <a:gd name="T29" fmla="*/ 41 h 611"/>
                <a:gd name="T30" fmla="*/ 323 w 499"/>
                <a:gd name="T31" fmla="*/ 56 h 611"/>
                <a:gd name="T32" fmla="*/ 329 w 499"/>
                <a:gd name="T33" fmla="*/ 84 h 611"/>
                <a:gd name="T34" fmla="*/ 377 w 499"/>
                <a:gd name="T35" fmla="*/ 107 h 611"/>
                <a:gd name="T36" fmla="*/ 373 w 499"/>
                <a:gd name="T37" fmla="*/ 144 h 611"/>
                <a:gd name="T38" fmla="*/ 377 w 499"/>
                <a:gd name="T39" fmla="*/ 157 h 611"/>
                <a:gd name="T40" fmla="*/ 400 w 499"/>
                <a:gd name="T41" fmla="*/ 154 h 611"/>
                <a:gd name="T42" fmla="*/ 405 w 499"/>
                <a:gd name="T43" fmla="*/ 170 h 611"/>
                <a:gd name="T44" fmla="*/ 448 w 499"/>
                <a:gd name="T45" fmla="*/ 164 h 611"/>
                <a:gd name="T46" fmla="*/ 455 w 499"/>
                <a:gd name="T47" fmla="*/ 201 h 611"/>
                <a:gd name="T48" fmla="*/ 448 w 499"/>
                <a:gd name="T49" fmla="*/ 225 h 611"/>
                <a:gd name="T50" fmla="*/ 437 w 499"/>
                <a:gd name="T51" fmla="*/ 264 h 611"/>
                <a:gd name="T52" fmla="*/ 462 w 499"/>
                <a:gd name="T53" fmla="*/ 266 h 611"/>
                <a:gd name="T54" fmla="*/ 480 w 499"/>
                <a:gd name="T55" fmla="*/ 297 h 611"/>
                <a:gd name="T56" fmla="*/ 499 w 499"/>
                <a:gd name="T57" fmla="*/ 308 h 611"/>
                <a:gd name="T58" fmla="*/ 464 w 499"/>
                <a:gd name="T59" fmla="*/ 347 h 611"/>
                <a:gd name="T60" fmla="*/ 462 w 499"/>
                <a:gd name="T61" fmla="*/ 367 h 611"/>
                <a:gd name="T62" fmla="*/ 432 w 499"/>
                <a:gd name="T63" fmla="*/ 381 h 611"/>
                <a:gd name="T64" fmla="*/ 403 w 499"/>
                <a:gd name="T65" fmla="*/ 386 h 611"/>
                <a:gd name="T66" fmla="*/ 352 w 499"/>
                <a:gd name="T67" fmla="*/ 443 h 611"/>
                <a:gd name="T68" fmla="*/ 314 w 499"/>
                <a:gd name="T69" fmla="*/ 468 h 611"/>
                <a:gd name="T70" fmla="*/ 322 w 499"/>
                <a:gd name="T71" fmla="*/ 538 h 611"/>
                <a:gd name="T72" fmla="*/ 329 w 499"/>
                <a:gd name="T73" fmla="*/ 595 h 611"/>
                <a:gd name="T74" fmla="*/ 296 w 499"/>
                <a:gd name="T75" fmla="*/ 608 h 611"/>
                <a:gd name="T76" fmla="*/ 253 w 499"/>
                <a:gd name="T77" fmla="*/ 586 h 611"/>
                <a:gd name="T78" fmla="*/ 256 w 499"/>
                <a:gd name="T79" fmla="*/ 562 h 611"/>
                <a:gd name="T80" fmla="*/ 261 w 499"/>
                <a:gd name="T81" fmla="*/ 491 h 611"/>
                <a:gd name="T82" fmla="*/ 202 w 499"/>
                <a:gd name="T83" fmla="*/ 411 h 611"/>
                <a:gd name="T84" fmla="*/ 164 w 499"/>
                <a:gd name="T85" fmla="*/ 386 h 611"/>
                <a:gd name="T86" fmla="*/ 127 w 499"/>
                <a:gd name="T87" fmla="*/ 362 h 611"/>
                <a:gd name="T88" fmla="*/ 134 w 499"/>
                <a:gd name="T89" fmla="*/ 330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9" h="611">
                  <a:moveTo>
                    <a:pt x="81" y="338"/>
                  </a:moveTo>
                  <a:lnTo>
                    <a:pt x="46" y="365"/>
                  </a:lnTo>
                  <a:lnTo>
                    <a:pt x="26" y="366"/>
                  </a:lnTo>
                  <a:lnTo>
                    <a:pt x="4" y="349"/>
                  </a:lnTo>
                  <a:lnTo>
                    <a:pt x="0" y="334"/>
                  </a:lnTo>
                  <a:lnTo>
                    <a:pt x="2" y="319"/>
                  </a:lnTo>
                  <a:lnTo>
                    <a:pt x="7" y="305"/>
                  </a:lnTo>
                  <a:lnTo>
                    <a:pt x="16" y="293"/>
                  </a:lnTo>
                  <a:lnTo>
                    <a:pt x="30" y="290"/>
                  </a:lnTo>
                  <a:lnTo>
                    <a:pt x="47" y="282"/>
                  </a:lnTo>
                  <a:lnTo>
                    <a:pt x="60" y="279"/>
                  </a:lnTo>
                  <a:lnTo>
                    <a:pt x="59" y="267"/>
                  </a:lnTo>
                  <a:lnTo>
                    <a:pt x="52" y="248"/>
                  </a:lnTo>
                  <a:lnTo>
                    <a:pt x="49" y="244"/>
                  </a:lnTo>
                  <a:lnTo>
                    <a:pt x="48" y="240"/>
                  </a:lnTo>
                  <a:lnTo>
                    <a:pt x="50" y="234"/>
                  </a:lnTo>
                  <a:lnTo>
                    <a:pt x="50" y="228"/>
                  </a:lnTo>
                  <a:lnTo>
                    <a:pt x="48" y="219"/>
                  </a:lnTo>
                  <a:lnTo>
                    <a:pt x="42" y="199"/>
                  </a:lnTo>
                  <a:lnTo>
                    <a:pt x="44" y="137"/>
                  </a:lnTo>
                  <a:lnTo>
                    <a:pt x="41" y="107"/>
                  </a:lnTo>
                  <a:lnTo>
                    <a:pt x="45" y="94"/>
                  </a:lnTo>
                  <a:lnTo>
                    <a:pt x="68" y="78"/>
                  </a:lnTo>
                  <a:lnTo>
                    <a:pt x="121" y="59"/>
                  </a:lnTo>
                  <a:lnTo>
                    <a:pt x="132" y="49"/>
                  </a:lnTo>
                  <a:lnTo>
                    <a:pt x="141" y="19"/>
                  </a:lnTo>
                  <a:lnTo>
                    <a:pt x="149" y="7"/>
                  </a:lnTo>
                  <a:lnTo>
                    <a:pt x="163" y="2"/>
                  </a:lnTo>
                  <a:lnTo>
                    <a:pt x="177" y="2"/>
                  </a:lnTo>
                  <a:lnTo>
                    <a:pt x="193" y="29"/>
                  </a:lnTo>
                  <a:lnTo>
                    <a:pt x="195" y="34"/>
                  </a:lnTo>
                  <a:lnTo>
                    <a:pt x="195" y="38"/>
                  </a:lnTo>
                  <a:lnTo>
                    <a:pt x="196" y="42"/>
                  </a:lnTo>
                  <a:lnTo>
                    <a:pt x="202" y="45"/>
                  </a:lnTo>
                  <a:lnTo>
                    <a:pt x="205" y="40"/>
                  </a:lnTo>
                  <a:lnTo>
                    <a:pt x="210" y="25"/>
                  </a:lnTo>
                  <a:lnTo>
                    <a:pt x="219" y="12"/>
                  </a:lnTo>
                  <a:lnTo>
                    <a:pt x="235" y="5"/>
                  </a:lnTo>
                  <a:lnTo>
                    <a:pt x="252" y="0"/>
                  </a:lnTo>
                  <a:lnTo>
                    <a:pt x="269" y="3"/>
                  </a:lnTo>
                  <a:lnTo>
                    <a:pt x="289" y="9"/>
                  </a:lnTo>
                  <a:lnTo>
                    <a:pt x="296" y="12"/>
                  </a:lnTo>
                  <a:lnTo>
                    <a:pt x="298" y="19"/>
                  </a:lnTo>
                  <a:lnTo>
                    <a:pt x="297" y="31"/>
                  </a:lnTo>
                  <a:lnTo>
                    <a:pt x="300" y="41"/>
                  </a:lnTo>
                  <a:lnTo>
                    <a:pt x="307" y="47"/>
                  </a:lnTo>
                  <a:lnTo>
                    <a:pt x="316" y="51"/>
                  </a:lnTo>
                  <a:lnTo>
                    <a:pt x="323" y="56"/>
                  </a:lnTo>
                  <a:lnTo>
                    <a:pt x="327" y="64"/>
                  </a:lnTo>
                  <a:lnTo>
                    <a:pt x="326" y="74"/>
                  </a:lnTo>
                  <a:lnTo>
                    <a:pt x="329" y="84"/>
                  </a:lnTo>
                  <a:lnTo>
                    <a:pt x="345" y="90"/>
                  </a:lnTo>
                  <a:lnTo>
                    <a:pt x="365" y="92"/>
                  </a:lnTo>
                  <a:lnTo>
                    <a:pt x="377" y="107"/>
                  </a:lnTo>
                  <a:lnTo>
                    <a:pt x="377" y="135"/>
                  </a:lnTo>
                  <a:lnTo>
                    <a:pt x="376" y="140"/>
                  </a:lnTo>
                  <a:lnTo>
                    <a:pt x="373" y="144"/>
                  </a:lnTo>
                  <a:lnTo>
                    <a:pt x="370" y="149"/>
                  </a:lnTo>
                  <a:lnTo>
                    <a:pt x="374" y="155"/>
                  </a:lnTo>
                  <a:lnTo>
                    <a:pt x="377" y="157"/>
                  </a:lnTo>
                  <a:lnTo>
                    <a:pt x="380" y="158"/>
                  </a:lnTo>
                  <a:lnTo>
                    <a:pt x="387" y="156"/>
                  </a:lnTo>
                  <a:lnTo>
                    <a:pt x="400" y="154"/>
                  </a:lnTo>
                  <a:lnTo>
                    <a:pt x="402" y="155"/>
                  </a:lnTo>
                  <a:lnTo>
                    <a:pt x="404" y="162"/>
                  </a:lnTo>
                  <a:lnTo>
                    <a:pt x="405" y="170"/>
                  </a:lnTo>
                  <a:lnTo>
                    <a:pt x="423" y="170"/>
                  </a:lnTo>
                  <a:lnTo>
                    <a:pt x="433" y="163"/>
                  </a:lnTo>
                  <a:lnTo>
                    <a:pt x="448" y="164"/>
                  </a:lnTo>
                  <a:lnTo>
                    <a:pt x="451" y="174"/>
                  </a:lnTo>
                  <a:lnTo>
                    <a:pt x="456" y="191"/>
                  </a:lnTo>
                  <a:lnTo>
                    <a:pt x="455" y="201"/>
                  </a:lnTo>
                  <a:lnTo>
                    <a:pt x="452" y="210"/>
                  </a:lnTo>
                  <a:lnTo>
                    <a:pt x="450" y="218"/>
                  </a:lnTo>
                  <a:lnTo>
                    <a:pt x="448" y="225"/>
                  </a:lnTo>
                  <a:lnTo>
                    <a:pt x="436" y="241"/>
                  </a:lnTo>
                  <a:lnTo>
                    <a:pt x="432" y="259"/>
                  </a:lnTo>
                  <a:lnTo>
                    <a:pt x="437" y="264"/>
                  </a:lnTo>
                  <a:lnTo>
                    <a:pt x="450" y="263"/>
                  </a:lnTo>
                  <a:lnTo>
                    <a:pt x="458" y="264"/>
                  </a:lnTo>
                  <a:lnTo>
                    <a:pt x="462" y="266"/>
                  </a:lnTo>
                  <a:lnTo>
                    <a:pt x="468" y="283"/>
                  </a:lnTo>
                  <a:lnTo>
                    <a:pt x="472" y="289"/>
                  </a:lnTo>
                  <a:lnTo>
                    <a:pt x="480" y="297"/>
                  </a:lnTo>
                  <a:lnTo>
                    <a:pt x="488" y="302"/>
                  </a:lnTo>
                  <a:lnTo>
                    <a:pt x="492" y="304"/>
                  </a:lnTo>
                  <a:lnTo>
                    <a:pt x="499" y="308"/>
                  </a:lnTo>
                  <a:lnTo>
                    <a:pt x="496" y="314"/>
                  </a:lnTo>
                  <a:lnTo>
                    <a:pt x="469" y="338"/>
                  </a:lnTo>
                  <a:lnTo>
                    <a:pt x="464" y="347"/>
                  </a:lnTo>
                  <a:lnTo>
                    <a:pt x="462" y="355"/>
                  </a:lnTo>
                  <a:lnTo>
                    <a:pt x="461" y="359"/>
                  </a:lnTo>
                  <a:lnTo>
                    <a:pt x="462" y="367"/>
                  </a:lnTo>
                  <a:lnTo>
                    <a:pt x="461" y="371"/>
                  </a:lnTo>
                  <a:lnTo>
                    <a:pt x="437" y="380"/>
                  </a:lnTo>
                  <a:lnTo>
                    <a:pt x="432" y="381"/>
                  </a:lnTo>
                  <a:lnTo>
                    <a:pt x="427" y="379"/>
                  </a:lnTo>
                  <a:lnTo>
                    <a:pt x="423" y="376"/>
                  </a:lnTo>
                  <a:lnTo>
                    <a:pt x="403" y="386"/>
                  </a:lnTo>
                  <a:lnTo>
                    <a:pt x="372" y="416"/>
                  </a:lnTo>
                  <a:lnTo>
                    <a:pt x="360" y="435"/>
                  </a:lnTo>
                  <a:lnTo>
                    <a:pt x="352" y="443"/>
                  </a:lnTo>
                  <a:lnTo>
                    <a:pt x="341" y="448"/>
                  </a:lnTo>
                  <a:lnTo>
                    <a:pt x="323" y="449"/>
                  </a:lnTo>
                  <a:lnTo>
                    <a:pt x="314" y="468"/>
                  </a:lnTo>
                  <a:lnTo>
                    <a:pt x="312" y="490"/>
                  </a:lnTo>
                  <a:lnTo>
                    <a:pt x="313" y="516"/>
                  </a:lnTo>
                  <a:lnTo>
                    <a:pt x="322" y="538"/>
                  </a:lnTo>
                  <a:lnTo>
                    <a:pt x="335" y="555"/>
                  </a:lnTo>
                  <a:lnTo>
                    <a:pt x="337" y="575"/>
                  </a:lnTo>
                  <a:lnTo>
                    <a:pt x="329" y="595"/>
                  </a:lnTo>
                  <a:lnTo>
                    <a:pt x="316" y="610"/>
                  </a:lnTo>
                  <a:lnTo>
                    <a:pt x="309" y="611"/>
                  </a:lnTo>
                  <a:lnTo>
                    <a:pt x="296" y="608"/>
                  </a:lnTo>
                  <a:lnTo>
                    <a:pt x="291" y="605"/>
                  </a:lnTo>
                  <a:lnTo>
                    <a:pt x="278" y="589"/>
                  </a:lnTo>
                  <a:lnTo>
                    <a:pt x="253" y="586"/>
                  </a:lnTo>
                  <a:lnTo>
                    <a:pt x="237" y="573"/>
                  </a:lnTo>
                  <a:lnTo>
                    <a:pt x="243" y="565"/>
                  </a:lnTo>
                  <a:lnTo>
                    <a:pt x="256" y="562"/>
                  </a:lnTo>
                  <a:lnTo>
                    <a:pt x="260" y="551"/>
                  </a:lnTo>
                  <a:lnTo>
                    <a:pt x="255" y="515"/>
                  </a:lnTo>
                  <a:lnTo>
                    <a:pt x="261" y="491"/>
                  </a:lnTo>
                  <a:lnTo>
                    <a:pt x="255" y="449"/>
                  </a:lnTo>
                  <a:lnTo>
                    <a:pt x="224" y="417"/>
                  </a:lnTo>
                  <a:lnTo>
                    <a:pt x="202" y="411"/>
                  </a:lnTo>
                  <a:lnTo>
                    <a:pt x="181" y="403"/>
                  </a:lnTo>
                  <a:lnTo>
                    <a:pt x="173" y="394"/>
                  </a:lnTo>
                  <a:lnTo>
                    <a:pt x="164" y="386"/>
                  </a:lnTo>
                  <a:lnTo>
                    <a:pt x="142" y="378"/>
                  </a:lnTo>
                  <a:lnTo>
                    <a:pt x="133" y="372"/>
                  </a:lnTo>
                  <a:lnTo>
                    <a:pt x="127" y="362"/>
                  </a:lnTo>
                  <a:lnTo>
                    <a:pt x="128" y="352"/>
                  </a:lnTo>
                  <a:lnTo>
                    <a:pt x="134" y="342"/>
                  </a:lnTo>
                  <a:lnTo>
                    <a:pt x="134" y="330"/>
                  </a:lnTo>
                  <a:lnTo>
                    <a:pt x="124" y="325"/>
                  </a:lnTo>
                  <a:lnTo>
                    <a:pt x="81" y="338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8" name="Kaduna"/>
            <p:cNvSpPr>
              <a:spLocks/>
            </p:cNvSpPr>
            <p:nvPr/>
          </p:nvSpPr>
          <p:spPr bwMode="auto">
            <a:xfrm>
              <a:off x="-7977405" y="2970812"/>
              <a:ext cx="1308094" cy="1214226"/>
            </a:xfrm>
            <a:custGeom>
              <a:avLst/>
              <a:gdLst>
                <a:gd name="T0" fmla="*/ 358 w 809"/>
                <a:gd name="T1" fmla="*/ 660 h 751"/>
                <a:gd name="T2" fmla="*/ 352 w 809"/>
                <a:gd name="T3" fmla="*/ 643 h 751"/>
                <a:gd name="T4" fmla="*/ 340 w 809"/>
                <a:gd name="T5" fmla="*/ 614 h 751"/>
                <a:gd name="T6" fmla="*/ 362 w 809"/>
                <a:gd name="T7" fmla="*/ 586 h 751"/>
                <a:gd name="T8" fmla="*/ 362 w 809"/>
                <a:gd name="T9" fmla="*/ 561 h 751"/>
                <a:gd name="T10" fmla="*/ 344 w 809"/>
                <a:gd name="T11" fmla="*/ 536 h 751"/>
                <a:gd name="T12" fmla="*/ 361 w 809"/>
                <a:gd name="T13" fmla="*/ 515 h 751"/>
                <a:gd name="T14" fmla="*/ 297 w 809"/>
                <a:gd name="T15" fmla="*/ 448 h 751"/>
                <a:gd name="T16" fmla="*/ 246 w 809"/>
                <a:gd name="T17" fmla="*/ 410 h 751"/>
                <a:gd name="T18" fmla="*/ 284 w 809"/>
                <a:gd name="T19" fmla="*/ 380 h 751"/>
                <a:gd name="T20" fmla="*/ 262 w 809"/>
                <a:gd name="T21" fmla="*/ 346 h 751"/>
                <a:gd name="T22" fmla="*/ 242 w 809"/>
                <a:gd name="T23" fmla="*/ 291 h 751"/>
                <a:gd name="T24" fmla="*/ 222 w 809"/>
                <a:gd name="T25" fmla="*/ 262 h 751"/>
                <a:gd name="T26" fmla="*/ 193 w 809"/>
                <a:gd name="T27" fmla="*/ 274 h 751"/>
                <a:gd name="T28" fmla="*/ 142 w 809"/>
                <a:gd name="T29" fmla="*/ 289 h 751"/>
                <a:gd name="T30" fmla="*/ 100 w 809"/>
                <a:gd name="T31" fmla="*/ 278 h 751"/>
                <a:gd name="T32" fmla="*/ 33 w 809"/>
                <a:gd name="T33" fmla="*/ 340 h 751"/>
                <a:gd name="T34" fmla="*/ 1 w 809"/>
                <a:gd name="T35" fmla="*/ 315 h 751"/>
                <a:gd name="T36" fmla="*/ 3 w 809"/>
                <a:gd name="T37" fmla="*/ 291 h 751"/>
                <a:gd name="T38" fmla="*/ 9 w 809"/>
                <a:gd name="T39" fmla="*/ 262 h 751"/>
                <a:gd name="T40" fmla="*/ 4 w 809"/>
                <a:gd name="T41" fmla="*/ 233 h 751"/>
                <a:gd name="T42" fmla="*/ 20 w 809"/>
                <a:gd name="T43" fmla="*/ 191 h 751"/>
                <a:gd name="T44" fmla="*/ 40 w 809"/>
                <a:gd name="T45" fmla="*/ 174 h 751"/>
                <a:gd name="T46" fmla="*/ 53 w 809"/>
                <a:gd name="T47" fmla="*/ 162 h 751"/>
                <a:gd name="T48" fmla="*/ 68 w 809"/>
                <a:gd name="T49" fmla="*/ 139 h 751"/>
                <a:gd name="T50" fmla="*/ 107 w 809"/>
                <a:gd name="T51" fmla="*/ 147 h 751"/>
                <a:gd name="T52" fmla="*/ 142 w 809"/>
                <a:gd name="T53" fmla="*/ 140 h 751"/>
                <a:gd name="T54" fmla="*/ 178 w 809"/>
                <a:gd name="T55" fmla="*/ 126 h 751"/>
                <a:gd name="T56" fmla="*/ 194 w 809"/>
                <a:gd name="T57" fmla="*/ 83 h 751"/>
                <a:gd name="T58" fmla="*/ 231 w 809"/>
                <a:gd name="T59" fmla="*/ 48 h 751"/>
                <a:gd name="T60" fmla="*/ 273 w 809"/>
                <a:gd name="T61" fmla="*/ 48 h 751"/>
                <a:gd name="T62" fmla="*/ 277 w 809"/>
                <a:gd name="T63" fmla="*/ 69 h 751"/>
                <a:gd name="T64" fmla="*/ 303 w 809"/>
                <a:gd name="T65" fmla="*/ 98 h 751"/>
                <a:gd name="T66" fmla="*/ 345 w 809"/>
                <a:gd name="T67" fmla="*/ 103 h 751"/>
                <a:gd name="T68" fmla="*/ 367 w 809"/>
                <a:gd name="T69" fmla="*/ 71 h 751"/>
                <a:gd name="T70" fmla="*/ 393 w 809"/>
                <a:gd name="T71" fmla="*/ 49 h 751"/>
                <a:gd name="T72" fmla="*/ 456 w 809"/>
                <a:gd name="T73" fmla="*/ 55 h 751"/>
                <a:gd name="T74" fmla="*/ 506 w 809"/>
                <a:gd name="T75" fmla="*/ 41 h 751"/>
                <a:gd name="T76" fmla="*/ 614 w 809"/>
                <a:gd name="T77" fmla="*/ 5 h 751"/>
                <a:gd name="T78" fmla="*/ 613 w 809"/>
                <a:gd name="T79" fmla="*/ 47 h 751"/>
                <a:gd name="T80" fmla="*/ 661 w 809"/>
                <a:gd name="T81" fmla="*/ 78 h 751"/>
                <a:gd name="T82" fmla="*/ 741 w 809"/>
                <a:gd name="T83" fmla="*/ 166 h 751"/>
                <a:gd name="T84" fmla="*/ 723 w 809"/>
                <a:gd name="T85" fmla="*/ 240 h 751"/>
                <a:gd name="T86" fmla="*/ 771 w 809"/>
                <a:gd name="T87" fmla="*/ 280 h 751"/>
                <a:gd name="T88" fmla="*/ 792 w 809"/>
                <a:gd name="T89" fmla="*/ 304 h 751"/>
                <a:gd name="T90" fmla="*/ 803 w 809"/>
                <a:gd name="T91" fmla="*/ 341 h 751"/>
                <a:gd name="T92" fmla="*/ 797 w 809"/>
                <a:gd name="T93" fmla="*/ 377 h 751"/>
                <a:gd name="T94" fmla="*/ 773 w 809"/>
                <a:gd name="T95" fmla="*/ 444 h 751"/>
                <a:gd name="T96" fmla="*/ 763 w 809"/>
                <a:gd name="T97" fmla="*/ 529 h 751"/>
                <a:gd name="T98" fmla="*/ 740 w 809"/>
                <a:gd name="T99" fmla="*/ 563 h 751"/>
                <a:gd name="T100" fmla="*/ 778 w 809"/>
                <a:gd name="T101" fmla="*/ 654 h 751"/>
                <a:gd name="T102" fmla="*/ 751 w 809"/>
                <a:gd name="T103" fmla="*/ 720 h 751"/>
                <a:gd name="T104" fmla="*/ 710 w 809"/>
                <a:gd name="T105" fmla="*/ 744 h 751"/>
                <a:gd name="T106" fmla="*/ 661 w 809"/>
                <a:gd name="T107" fmla="*/ 708 h 751"/>
                <a:gd name="T108" fmla="*/ 602 w 809"/>
                <a:gd name="T109" fmla="*/ 749 h 751"/>
                <a:gd name="T110" fmla="*/ 570 w 809"/>
                <a:gd name="T111" fmla="*/ 670 h 751"/>
                <a:gd name="T112" fmla="*/ 539 w 809"/>
                <a:gd name="T113" fmla="*/ 650 h 751"/>
                <a:gd name="T114" fmla="*/ 502 w 809"/>
                <a:gd name="T115" fmla="*/ 671 h 751"/>
                <a:gd name="T116" fmla="*/ 469 w 809"/>
                <a:gd name="T117" fmla="*/ 654 h 751"/>
                <a:gd name="T118" fmla="*/ 434 w 809"/>
                <a:gd name="T119" fmla="*/ 645 h 751"/>
                <a:gd name="T120" fmla="*/ 402 w 809"/>
                <a:gd name="T121" fmla="*/ 659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9" h="751">
                  <a:moveTo>
                    <a:pt x="402" y="659"/>
                  </a:moveTo>
                  <a:lnTo>
                    <a:pt x="394" y="658"/>
                  </a:lnTo>
                  <a:lnTo>
                    <a:pt x="365" y="661"/>
                  </a:lnTo>
                  <a:lnTo>
                    <a:pt x="358" y="660"/>
                  </a:lnTo>
                  <a:lnTo>
                    <a:pt x="350" y="662"/>
                  </a:lnTo>
                  <a:lnTo>
                    <a:pt x="349" y="657"/>
                  </a:lnTo>
                  <a:lnTo>
                    <a:pt x="352" y="649"/>
                  </a:lnTo>
                  <a:lnTo>
                    <a:pt x="352" y="643"/>
                  </a:lnTo>
                  <a:lnTo>
                    <a:pt x="348" y="637"/>
                  </a:lnTo>
                  <a:lnTo>
                    <a:pt x="344" y="634"/>
                  </a:lnTo>
                  <a:lnTo>
                    <a:pt x="338" y="626"/>
                  </a:lnTo>
                  <a:lnTo>
                    <a:pt x="340" y="614"/>
                  </a:lnTo>
                  <a:lnTo>
                    <a:pt x="356" y="603"/>
                  </a:lnTo>
                  <a:lnTo>
                    <a:pt x="358" y="597"/>
                  </a:lnTo>
                  <a:lnTo>
                    <a:pt x="359" y="591"/>
                  </a:lnTo>
                  <a:lnTo>
                    <a:pt x="362" y="586"/>
                  </a:lnTo>
                  <a:lnTo>
                    <a:pt x="366" y="582"/>
                  </a:lnTo>
                  <a:lnTo>
                    <a:pt x="373" y="575"/>
                  </a:lnTo>
                  <a:lnTo>
                    <a:pt x="371" y="565"/>
                  </a:lnTo>
                  <a:lnTo>
                    <a:pt x="362" y="561"/>
                  </a:lnTo>
                  <a:lnTo>
                    <a:pt x="358" y="552"/>
                  </a:lnTo>
                  <a:lnTo>
                    <a:pt x="360" y="544"/>
                  </a:lnTo>
                  <a:lnTo>
                    <a:pt x="354" y="539"/>
                  </a:lnTo>
                  <a:lnTo>
                    <a:pt x="344" y="536"/>
                  </a:lnTo>
                  <a:lnTo>
                    <a:pt x="338" y="528"/>
                  </a:lnTo>
                  <a:lnTo>
                    <a:pt x="344" y="523"/>
                  </a:lnTo>
                  <a:lnTo>
                    <a:pt x="353" y="522"/>
                  </a:lnTo>
                  <a:lnTo>
                    <a:pt x="361" y="515"/>
                  </a:lnTo>
                  <a:lnTo>
                    <a:pt x="361" y="505"/>
                  </a:lnTo>
                  <a:lnTo>
                    <a:pt x="356" y="457"/>
                  </a:lnTo>
                  <a:lnTo>
                    <a:pt x="342" y="447"/>
                  </a:lnTo>
                  <a:lnTo>
                    <a:pt x="297" y="448"/>
                  </a:lnTo>
                  <a:lnTo>
                    <a:pt x="274" y="445"/>
                  </a:lnTo>
                  <a:lnTo>
                    <a:pt x="253" y="436"/>
                  </a:lnTo>
                  <a:lnTo>
                    <a:pt x="239" y="418"/>
                  </a:lnTo>
                  <a:lnTo>
                    <a:pt x="246" y="410"/>
                  </a:lnTo>
                  <a:lnTo>
                    <a:pt x="257" y="404"/>
                  </a:lnTo>
                  <a:lnTo>
                    <a:pt x="264" y="395"/>
                  </a:lnTo>
                  <a:lnTo>
                    <a:pt x="274" y="386"/>
                  </a:lnTo>
                  <a:lnTo>
                    <a:pt x="284" y="380"/>
                  </a:lnTo>
                  <a:lnTo>
                    <a:pt x="292" y="370"/>
                  </a:lnTo>
                  <a:lnTo>
                    <a:pt x="293" y="360"/>
                  </a:lnTo>
                  <a:lnTo>
                    <a:pt x="283" y="354"/>
                  </a:lnTo>
                  <a:lnTo>
                    <a:pt x="262" y="346"/>
                  </a:lnTo>
                  <a:lnTo>
                    <a:pt x="256" y="339"/>
                  </a:lnTo>
                  <a:lnTo>
                    <a:pt x="259" y="329"/>
                  </a:lnTo>
                  <a:lnTo>
                    <a:pt x="259" y="304"/>
                  </a:lnTo>
                  <a:lnTo>
                    <a:pt x="242" y="291"/>
                  </a:lnTo>
                  <a:lnTo>
                    <a:pt x="231" y="294"/>
                  </a:lnTo>
                  <a:lnTo>
                    <a:pt x="227" y="293"/>
                  </a:lnTo>
                  <a:lnTo>
                    <a:pt x="225" y="269"/>
                  </a:lnTo>
                  <a:lnTo>
                    <a:pt x="222" y="262"/>
                  </a:lnTo>
                  <a:lnTo>
                    <a:pt x="213" y="259"/>
                  </a:lnTo>
                  <a:lnTo>
                    <a:pt x="202" y="258"/>
                  </a:lnTo>
                  <a:lnTo>
                    <a:pt x="192" y="262"/>
                  </a:lnTo>
                  <a:lnTo>
                    <a:pt x="193" y="274"/>
                  </a:lnTo>
                  <a:lnTo>
                    <a:pt x="187" y="279"/>
                  </a:lnTo>
                  <a:lnTo>
                    <a:pt x="176" y="277"/>
                  </a:lnTo>
                  <a:lnTo>
                    <a:pt x="163" y="280"/>
                  </a:lnTo>
                  <a:lnTo>
                    <a:pt x="142" y="289"/>
                  </a:lnTo>
                  <a:lnTo>
                    <a:pt x="133" y="288"/>
                  </a:lnTo>
                  <a:lnTo>
                    <a:pt x="129" y="278"/>
                  </a:lnTo>
                  <a:lnTo>
                    <a:pt x="120" y="273"/>
                  </a:lnTo>
                  <a:lnTo>
                    <a:pt x="100" y="278"/>
                  </a:lnTo>
                  <a:lnTo>
                    <a:pt x="63" y="304"/>
                  </a:lnTo>
                  <a:lnTo>
                    <a:pt x="48" y="322"/>
                  </a:lnTo>
                  <a:lnTo>
                    <a:pt x="42" y="331"/>
                  </a:lnTo>
                  <a:lnTo>
                    <a:pt x="33" y="340"/>
                  </a:lnTo>
                  <a:lnTo>
                    <a:pt x="23" y="341"/>
                  </a:lnTo>
                  <a:lnTo>
                    <a:pt x="18" y="331"/>
                  </a:lnTo>
                  <a:lnTo>
                    <a:pt x="11" y="322"/>
                  </a:lnTo>
                  <a:lnTo>
                    <a:pt x="1" y="315"/>
                  </a:lnTo>
                  <a:lnTo>
                    <a:pt x="0" y="304"/>
                  </a:lnTo>
                  <a:lnTo>
                    <a:pt x="1" y="299"/>
                  </a:lnTo>
                  <a:lnTo>
                    <a:pt x="2" y="295"/>
                  </a:lnTo>
                  <a:lnTo>
                    <a:pt x="3" y="291"/>
                  </a:lnTo>
                  <a:lnTo>
                    <a:pt x="3" y="283"/>
                  </a:lnTo>
                  <a:lnTo>
                    <a:pt x="4" y="280"/>
                  </a:lnTo>
                  <a:lnTo>
                    <a:pt x="8" y="270"/>
                  </a:lnTo>
                  <a:lnTo>
                    <a:pt x="9" y="262"/>
                  </a:lnTo>
                  <a:lnTo>
                    <a:pt x="10" y="259"/>
                  </a:lnTo>
                  <a:lnTo>
                    <a:pt x="9" y="255"/>
                  </a:lnTo>
                  <a:lnTo>
                    <a:pt x="4" y="241"/>
                  </a:lnTo>
                  <a:lnTo>
                    <a:pt x="4" y="233"/>
                  </a:lnTo>
                  <a:lnTo>
                    <a:pt x="6" y="208"/>
                  </a:lnTo>
                  <a:lnTo>
                    <a:pt x="8" y="200"/>
                  </a:lnTo>
                  <a:lnTo>
                    <a:pt x="14" y="194"/>
                  </a:lnTo>
                  <a:lnTo>
                    <a:pt x="20" y="191"/>
                  </a:lnTo>
                  <a:lnTo>
                    <a:pt x="33" y="186"/>
                  </a:lnTo>
                  <a:lnTo>
                    <a:pt x="38" y="181"/>
                  </a:lnTo>
                  <a:lnTo>
                    <a:pt x="40" y="178"/>
                  </a:lnTo>
                  <a:lnTo>
                    <a:pt x="40" y="174"/>
                  </a:lnTo>
                  <a:lnTo>
                    <a:pt x="40" y="170"/>
                  </a:lnTo>
                  <a:lnTo>
                    <a:pt x="43" y="166"/>
                  </a:lnTo>
                  <a:lnTo>
                    <a:pt x="45" y="164"/>
                  </a:lnTo>
                  <a:lnTo>
                    <a:pt x="53" y="162"/>
                  </a:lnTo>
                  <a:lnTo>
                    <a:pt x="55" y="160"/>
                  </a:lnTo>
                  <a:lnTo>
                    <a:pt x="59" y="155"/>
                  </a:lnTo>
                  <a:lnTo>
                    <a:pt x="64" y="144"/>
                  </a:lnTo>
                  <a:lnTo>
                    <a:pt x="68" y="139"/>
                  </a:lnTo>
                  <a:lnTo>
                    <a:pt x="74" y="137"/>
                  </a:lnTo>
                  <a:lnTo>
                    <a:pt x="80" y="138"/>
                  </a:lnTo>
                  <a:lnTo>
                    <a:pt x="100" y="145"/>
                  </a:lnTo>
                  <a:lnTo>
                    <a:pt x="107" y="147"/>
                  </a:lnTo>
                  <a:lnTo>
                    <a:pt x="113" y="147"/>
                  </a:lnTo>
                  <a:lnTo>
                    <a:pt x="134" y="140"/>
                  </a:lnTo>
                  <a:lnTo>
                    <a:pt x="137" y="140"/>
                  </a:lnTo>
                  <a:lnTo>
                    <a:pt x="142" y="140"/>
                  </a:lnTo>
                  <a:lnTo>
                    <a:pt x="144" y="140"/>
                  </a:lnTo>
                  <a:lnTo>
                    <a:pt x="147" y="139"/>
                  </a:lnTo>
                  <a:lnTo>
                    <a:pt x="172" y="129"/>
                  </a:lnTo>
                  <a:lnTo>
                    <a:pt x="178" y="126"/>
                  </a:lnTo>
                  <a:lnTo>
                    <a:pt x="182" y="122"/>
                  </a:lnTo>
                  <a:lnTo>
                    <a:pt x="186" y="117"/>
                  </a:lnTo>
                  <a:lnTo>
                    <a:pt x="189" y="111"/>
                  </a:lnTo>
                  <a:lnTo>
                    <a:pt x="194" y="83"/>
                  </a:lnTo>
                  <a:lnTo>
                    <a:pt x="198" y="75"/>
                  </a:lnTo>
                  <a:lnTo>
                    <a:pt x="204" y="67"/>
                  </a:lnTo>
                  <a:lnTo>
                    <a:pt x="225" y="54"/>
                  </a:lnTo>
                  <a:lnTo>
                    <a:pt x="231" y="48"/>
                  </a:lnTo>
                  <a:lnTo>
                    <a:pt x="236" y="39"/>
                  </a:lnTo>
                  <a:lnTo>
                    <a:pt x="250" y="46"/>
                  </a:lnTo>
                  <a:lnTo>
                    <a:pt x="258" y="48"/>
                  </a:lnTo>
                  <a:lnTo>
                    <a:pt x="273" y="48"/>
                  </a:lnTo>
                  <a:lnTo>
                    <a:pt x="280" y="52"/>
                  </a:lnTo>
                  <a:lnTo>
                    <a:pt x="283" y="60"/>
                  </a:lnTo>
                  <a:lnTo>
                    <a:pt x="282" y="66"/>
                  </a:lnTo>
                  <a:lnTo>
                    <a:pt x="277" y="69"/>
                  </a:lnTo>
                  <a:lnTo>
                    <a:pt x="269" y="78"/>
                  </a:lnTo>
                  <a:lnTo>
                    <a:pt x="270" y="86"/>
                  </a:lnTo>
                  <a:lnTo>
                    <a:pt x="292" y="92"/>
                  </a:lnTo>
                  <a:lnTo>
                    <a:pt x="303" y="98"/>
                  </a:lnTo>
                  <a:lnTo>
                    <a:pt x="318" y="114"/>
                  </a:lnTo>
                  <a:lnTo>
                    <a:pt x="327" y="116"/>
                  </a:lnTo>
                  <a:lnTo>
                    <a:pt x="338" y="111"/>
                  </a:lnTo>
                  <a:lnTo>
                    <a:pt x="345" y="103"/>
                  </a:lnTo>
                  <a:lnTo>
                    <a:pt x="345" y="93"/>
                  </a:lnTo>
                  <a:lnTo>
                    <a:pt x="340" y="86"/>
                  </a:lnTo>
                  <a:lnTo>
                    <a:pt x="345" y="70"/>
                  </a:lnTo>
                  <a:lnTo>
                    <a:pt x="367" y="71"/>
                  </a:lnTo>
                  <a:lnTo>
                    <a:pt x="379" y="74"/>
                  </a:lnTo>
                  <a:lnTo>
                    <a:pt x="387" y="70"/>
                  </a:lnTo>
                  <a:lnTo>
                    <a:pt x="388" y="59"/>
                  </a:lnTo>
                  <a:lnTo>
                    <a:pt x="393" y="49"/>
                  </a:lnTo>
                  <a:lnTo>
                    <a:pt x="412" y="38"/>
                  </a:lnTo>
                  <a:lnTo>
                    <a:pt x="434" y="42"/>
                  </a:lnTo>
                  <a:lnTo>
                    <a:pt x="445" y="48"/>
                  </a:lnTo>
                  <a:lnTo>
                    <a:pt x="456" y="55"/>
                  </a:lnTo>
                  <a:lnTo>
                    <a:pt x="462" y="63"/>
                  </a:lnTo>
                  <a:lnTo>
                    <a:pt x="471" y="67"/>
                  </a:lnTo>
                  <a:lnTo>
                    <a:pt x="495" y="56"/>
                  </a:lnTo>
                  <a:lnTo>
                    <a:pt x="506" y="41"/>
                  </a:lnTo>
                  <a:lnTo>
                    <a:pt x="526" y="40"/>
                  </a:lnTo>
                  <a:lnTo>
                    <a:pt x="561" y="13"/>
                  </a:lnTo>
                  <a:lnTo>
                    <a:pt x="604" y="0"/>
                  </a:lnTo>
                  <a:lnTo>
                    <a:pt x="614" y="5"/>
                  </a:lnTo>
                  <a:lnTo>
                    <a:pt x="614" y="17"/>
                  </a:lnTo>
                  <a:lnTo>
                    <a:pt x="608" y="27"/>
                  </a:lnTo>
                  <a:lnTo>
                    <a:pt x="607" y="37"/>
                  </a:lnTo>
                  <a:lnTo>
                    <a:pt x="613" y="47"/>
                  </a:lnTo>
                  <a:lnTo>
                    <a:pt x="622" y="53"/>
                  </a:lnTo>
                  <a:lnTo>
                    <a:pt x="644" y="61"/>
                  </a:lnTo>
                  <a:lnTo>
                    <a:pt x="653" y="69"/>
                  </a:lnTo>
                  <a:lnTo>
                    <a:pt x="661" y="78"/>
                  </a:lnTo>
                  <a:lnTo>
                    <a:pt x="682" y="86"/>
                  </a:lnTo>
                  <a:lnTo>
                    <a:pt x="704" y="92"/>
                  </a:lnTo>
                  <a:lnTo>
                    <a:pt x="735" y="124"/>
                  </a:lnTo>
                  <a:lnTo>
                    <a:pt x="741" y="166"/>
                  </a:lnTo>
                  <a:lnTo>
                    <a:pt x="735" y="190"/>
                  </a:lnTo>
                  <a:lnTo>
                    <a:pt x="740" y="226"/>
                  </a:lnTo>
                  <a:lnTo>
                    <a:pt x="736" y="237"/>
                  </a:lnTo>
                  <a:lnTo>
                    <a:pt x="723" y="240"/>
                  </a:lnTo>
                  <a:lnTo>
                    <a:pt x="717" y="248"/>
                  </a:lnTo>
                  <a:lnTo>
                    <a:pt x="733" y="261"/>
                  </a:lnTo>
                  <a:lnTo>
                    <a:pt x="758" y="264"/>
                  </a:lnTo>
                  <a:lnTo>
                    <a:pt x="771" y="280"/>
                  </a:lnTo>
                  <a:lnTo>
                    <a:pt x="776" y="283"/>
                  </a:lnTo>
                  <a:lnTo>
                    <a:pt x="789" y="286"/>
                  </a:lnTo>
                  <a:lnTo>
                    <a:pt x="796" y="285"/>
                  </a:lnTo>
                  <a:lnTo>
                    <a:pt x="792" y="304"/>
                  </a:lnTo>
                  <a:lnTo>
                    <a:pt x="782" y="323"/>
                  </a:lnTo>
                  <a:lnTo>
                    <a:pt x="786" y="331"/>
                  </a:lnTo>
                  <a:lnTo>
                    <a:pt x="794" y="335"/>
                  </a:lnTo>
                  <a:lnTo>
                    <a:pt x="803" y="341"/>
                  </a:lnTo>
                  <a:lnTo>
                    <a:pt x="809" y="349"/>
                  </a:lnTo>
                  <a:lnTo>
                    <a:pt x="806" y="358"/>
                  </a:lnTo>
                  <a:lnTo>
                    <a:pt x="805" y="368"/>
                  </a:lnTo>
                  <a:lnTo>
                    <a:pt x="797" y="377"/>
                  </a:lnTo>
                  <a:lnTo>
                    <a:pt x="786" y="382"/>
                  </a:lnTo>
                  <a:lnTo>
                    <a:pt x="771" y="399"/>
                  </a:lnTo>
                  <a:lnTo>
                    <a:pt x="766" y="421"/>
                  </a:lnTo>
                  <a:lnTo>
                    <a:pt x="773" y="444"/>
                  </a:lnTo>
                  <a:lnTo>
                    <a:pt x="762" y="484"/>
                  </a:lnTo>
                  <a:lnTo>
                    <a:pt x="762" y="507"/>
                  </a:lnTo>
                  <a:lnTo>
                    <a:pt x="760" y="519"/>
                  </a:lnTo>
                  <a:lnTo>
                    <a:pt x="763" y="529"/>
                  </a:lnTo>
                  <a:lnTo>
                    <a:pt x="749" y="546"/>
                  </a:lnTo>
                  <a:lnTo>
                    <a:pt x="749" y="550"/>
                  </a:lnTo>
                  <a:lnTo>
                    <a:pt x="749" y="556"/>
                  </a:lnTo>
                  <a:lnTo>
                    <a:pt x="740" y="563"/>
                  </a:lnTo>
                  <a:lnTo>
                    <a:pt x="741" y="606"/>
                  </a:lnTo>
                  <a:lnTo>
                    <a:pt x="752" y="623"/>
                  </a:lnTo>
                  <a:lnTo>
                    <a:pt x="767" y="637"/>
                  </a:lnTo>
                  <a:lnTo>
                    <a:pt x="778" y="654"/>
                  </a:lnTo>
                  <a:lnTo>
                    <a:pt x="777" y="672"/>
                  </a:lnTo>
                  <a:lnTo>
                    <a:pt x="771" y="690"/>
                  </a:lnTo>
                  <a:lnTo>
                    <a:pt x="760" y="702"/>
                  </a:lnTo>
                  <a:lnTo>
                    <a:pt x="751" y="720"/>
                  </a:lnTo>
                  <a:lnTo>
                    <a:pt x="742" y="737"/>
                  </a:lnTo>
                  <a:lnTo>
                    <a:pt x="730" y="749"/>
                  </a:lnTo>
                  <a:lnTo>
                    <a:pt x="718" y="751"/>
                  </a:lnTo>
                  <a:lnTo>
                    <a:pt x="710" y="744"/>
                  </a:lnTo>
                  <a:lnTo>
                    <a:pt x="706" y="737"/>
                  </a:lnTo>
                  <a:lnTo>
                    <a:pt x="700" y="732"/>
                  </a:lnTo>
                  <a:lnTo>
                    <a:pt x="688" y="716"/>
                  </a:lnTo>
                  <a:lnTo>
                    <a:pt x="661" y="708"/>
                  </a:lnTo>
                  <a:lnTo>
                    <a:pt x="651" y="705"/>
                  </a:lnTo>
                  <a:lnTo>
                    <a:pt x="644" y="712"/>
                  </a:lnTo>
                  <a:lnTo>
                    <a:pt x="626" y="737"/>
                  </a:lnTo>
                  <a:lnTo>
                    <a:pt x="602" y="749"/>
                  </a:lnTo>
                  <a:lnTo>
                    <a:pt x="595" y="720"/>
                  </a:lnTo>
                  <a:lnTo>
                    <a:pt x="592" y="685"/>
                  </a:lnTo>
                  <a:lnTo>
                    <a:pt x="579" y="678"/>
                  </a:lnTo>
                  <a:lnTo>
                    <a:pt x="570" y="670"/>
                  </a:lnTo>
                  <a:lnTo>
                    <a:pt x="570" y="663"/>
                  </a:lnTo>
                  <a:lnTo>
                    <a:pt x="567" y="656"/>
                  </a:lnTo>
                  <a:lnTo>
                    <a:pt x="558" y="647"/>
                  </a:lnTo>
                  <a:lnTo>
                    <a:pt x="539" y="650"/>
                  </a:lnTo>
                  <a:lnTo>
                    <a:pt x="528" y="671"/>
                  </a:lnTo>
                  <a:lnTo>
                    <a:pt x="517" y="675"/>
                  </a:lnTo>
                  <a:lnTo>
                    <a:pt x="507" y="671"/>
                  </a:lnTo>
                  <a:lnTo>
                    <a:pt x="502" y="671"/>
                  </a:lnTo>
                  <a:lnTo>
                    <a:pt x="489" y="664"/>
                  </a:lnTo>
                  <a:lnTo>
                    <a:pt x="480" y="665"/>
                  </a:lnTo>
                  <a:lnTo>
                    <a:pt x="473" y="661"/>
                  </a:lnTo>
                  <a:lnTo>
                    <a:pt x="469" y="654"/>
                  </a:lnTo>
                  <a:lnTo>
                    <a:pt x="460" y="657"/>
                  </a:lnTo>
                  <a:lnTo>
                    <a:pt x="450" y="659"/>
                  </a:lnTo>
                  <a:lnTo>
                    <a:pt x="445" y="649"/>
                  </a:lnTo>
                  <a:lnTo>
                    <a:pt x="434" y="645"/>
                  </a:lnTo>
                  <a:lnTo>
                    <a:pt x="425" y="658"/>
                  </a:lnTo>
                  <a:lnTo>
                    <a:pt x="418" y="663"/>
                  </a:lnTo>
                  <a:lnTo>
                    <a:pt x="410" y="660"/>
                  </a:lnTo>
                  <a:lnTo>
                    <a:pt x="402" y="659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09" name="Jigawa"/>
            <p:cNvSpPr>
              <a:spLocks/>
            </p:cNvSpPr>
            <p:nvPr/>
          </p:nvSpPr>
          <p:spPr bwMode="auto">
            <a:xfrm>
              <a:off x="-6995930" y="2246480"/>
              <a:ext cx="1212695" cy="997573"/>
            </a:xfrm>
            <a:custGeom>
              <a:avLst/>
              <a:gdLst>
                <a:gd name="T0" fmla="*/ 347 w 750"/>
                <a:gd name="T1" fmla="*/ 53 h 617"/>
                <a:gd name="T2" fmla="*/ 444 w 750"/>
                <a:gd name="T3" fmla="*/ 56 h 617"/>
                <a:gd name="T4" fmla="*/ 459 w 750"/>
                <a:gd name="T5" fmla="*/ 50 h 617"/>
                <a:gd name="T6" fmla="*/ 523 w 750"/>
                <a:gd name="T7" fmla="*/ 48 h 617"/>
                <a:gd name="T8" fmla="*/ 558 w 750"/>
                <a:gd name="T9" fmla="*/ 19 h 617"/>
                <a:gd name="T10" fmla="*/ 627 w 750"/>
                <a:gd name="T11" fmla="*/ 5 h 617"/>
                <a:gd name="T12" fmla="*/ 659 w 750"/>
                <a:gd name="T13" fmla="*/ 56 h 617"/>
                <a:gd name="T14" fmla="*/ 710 w 750"/>
                <a:gd name="T15" fmla="*/ 58 h 617"/>
                <a:gd name="T16" fmla="*/ 744 w 750"/>
                <a:gd name="T17" fmla="*/ 125 h 617"/>
                <a:gd name="T18" fmla="*/ 685 w 750"/>
                <a:gd name="T19" fmla="*/ 161 h 617"/>
                <a:gd name="T20" fmla="*/ 642 w 750"/>
                <a:gd name="T21" fmla="*/ 189 h 617"/>
                <a:gd name="T22" fmla="*/ 619 w 750"/>
                <a:gd name="T23" fmla="*/ 283 h 617"/>
                <a:gd name="T24" fmla="*/ 502 w 750"/>
                <a:gd name="T25" fmla="*/ 340 h 617"/>
                <a:gd name="T26" fmla="*/ 467 w 750"/>
                <a:gd name="T27" fmla="*/ 387 h 617"/>
                <a:gd name="T28" fmla="*/ 511 w 750"/>
                <a:gd name="T29" fmla="*/ 393 h 617"/>
                <a:gd name="T30" fmla="*/ 505 w 750"/>
                <a:gd name="T31" fmla="*/ 452 h 617"/>
                <a:gd name="T32" fmla="*/ 538 w 750"/>
                <a:gd name="T33" fmla="*/ 481 h 617"/>
                <a:gd name="T34" fmla="*/ 663 w 750"/>
                <a:gd name="T35" fmla="*/ 537 h 617"/>
                <a:gd name="T36" fmla="*/ 665 w 750"/>
                <a:gd name="T37" fmla="*/ 568 h 617"/>
                <a:gd name="T38" fmla="*/ 621 w 750"/>
                <a:gd name="T39" fmla="*/ 617 h 617"/>
                <a:gd name="T40" fmla="*/ 534 w 750"/>
                <a:gd name="T41" fmla="*/ 604 h 617"/>
                <a:gd name="T42" fmla="*/ 523 w 750"/>
                <a:gd name="T43" fmla="*/ 531 h 617"/>
                <a:gd name="T44" fmla="*/ 438 w 750"/>
                <a:gd name="T45" fmla="*/ 521 h 617"/>
                <a:gd name="T46" fmla="*/ 370 w 750"/>
                <a:gd name="T47" fmla="*/ 499 h 617"/>
                <a:gd name="T48" fmla="*/ 334 w 750"/>
                <a:gd name="T49" fmla="*/ 482 h 617"/>
                <a:gd name="T50" fmla="*/ 369 w 750"/>
                <a:gd name="T51" fmla="*/ 437 h 617"/>
                <a:gd name="T52" fmla="*/ 353 w 750"/>
                <a:gd name="T53" fmla="*/ 420 h 617"/>
                <a:gd name="T54" fmla="*/ 331 w 750"/>
                <a:gd name="T55" fmla="*/ 387 h 617"/>
                <a:gd name="T56" fmla="*/ 309 w 750"/>
                <a:gd name="T57" fmla="*/ 364 h 617"/>
                <a:gd name="T58" fmla="*/ 328 w 750"/>
                <a:gd name="T59" fmla="*/ 324 h 617"/>
                <a:gd name="T60" fmla="*/ 306 w 750"/>
                <a:gd name="T61" fmla="*/ 286 h 617"/>
                <a:gd name="T62" fmla="*/ 275 w 750"/>
                <a:gd name="T63" fmla="*/ 278 h 617"/>
                <a:gd name="T64" fmla="*/ 250 w 750"/>
                <a:gd name="T65" fmla="*/ 280 h 617"/>
                <a:gd name="T66" fmla="*/ 249 w 750"/>
                <a:gd name="T67" fmla="*/ 263 h 617"/>
                <a:gd name="T68" fmla="*/ 218 w 750"/>
                <a:gd name="T69" fmla="*/ 213 h 617"/>
                <a:gd name="T70" fmla="*/ 196 w 750"/>
                <a:gd name="T71" fmla="*/ 179 h 617"/>
                <a:gd name="T72" fmla="*/ 170 w 750"/>
                <a:gd name="T73" fmla="*/ 154 h 617"/>
                <a:gd name="T74" fmla="*/ 142 w 750"/>
                <a:gd name="T75" fmla="*/ 126 h 617"/>
                <a:gd name="T76" fmla="*/ 83 w 750"/>
                <a:gd name="T77" fmla="*/ 148 h 617"/>
                <a:gd name="T78" fmla="*/ 68 w 750"/>
                <a:gd name="T79" fmla="*/ 161 h 617"/>
                <a:gd name="T80" fmla="*/ 47 w 750"/>
                <a:gd name="T81" fmla="*/ 116 h 617"/>
                <a:gd name="T82" fmla="*/ 0 w 750"/>
                <a:gd name="T83" fmla="*/ 80 h 617"/>
                <a:gd name="T84" fmla="*/ 60 w 750"/>
                <a:gd name="T85" fmla="*/ 47 h 617"/>
                <a:gd name="T86" fmla="*/ 137 w 750"/>
                <a:gd name="T87" fmla="*/ 68 h 617"/>
                <a:gd name="T88" fmla="*/ 167 w 750"/>
                <a:gd name="T89" fmla="*/ 89 h 617"/>
                <a:gd name="T90" fmla="*/ 197 w 750"/>
                <a:gd name="T91" fmla="*/ 93 h 617"/>
                <a:gd name="T92" fmla="*/ 244 w 750"/>
                <a:gd name="T93" fmla="*/ 66 h 617"/>
                <a:gd name="T94" fmla="*/ 257 w 750"/>
                <a:gd name="T95" fmla="*/ 51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0" h="617">
                  <a:moveTo>
                    <a:pt x="257" y="51"/>
                  </a:moveTo>
                  <a:lnTo>
                    <a:pt x="259" y="46"/>
                  </a:lnTo>
                  <a:lnTo>
                    <a:pt x="259" y="43"/>
                  </a:lnTo>
                  <a:lnTo>
                    <a:pt x="347" y="53"/>
                  </a:lnTo>
                  <a:lnTo>
                    <a:pt x="358" y="53"/>
                  </a:lnTo>
                  <a:lnTo>
                    <a:pt x="374" y="49"/>
                  </a:lnTo>
                  <a:lnTo>
                    <a:pt x="380" y="49"/>
                  </a:lnTo>
                  <a:lnTo>
                    <a:pt x="444" y="56"/>
                  </a:lnTo>
                  <a:lnTo>
                    <a:pt x="450" y="55"/>
                  </a:lnTo>
                  <a:lnTo>
                    <a:pt x="452" y="54"/>
                  </a:lnTo>
                  <a:lnTo>
                    <a:pt x="455" y="52"/>
                  </a:lnTo>
                  <a:lnTo>
                    <a:pt x="459" y="50"/>
                  </a:lnTo>
                  <a:lnTo>
                    <a:pt x="461" y="47"/>
                  </a:lnTo>
                  <a:lnTo>
                    <a:pt x="469" y="50"/>
                  </a:lnTo>
                  <a:lnTo>
                    <a:pt x="498" y="58"/>
                  </a:lnTo>
                  <a:lnTo>
                    <a:pt x="523" y="48"/>
                  </a:lnTo>
                  <a:lnTo>
                    <a:pt x="529" y="39"/>
                  </a:lnTo>
                  <a:lnTo>
                    <a:pt x="532" y="31"/>
                  </a:lnTo>
                  <a:lnTo>
                    <a:pt x="538" y="27"/>
                  </a:lnTo>
                  <a:lnTo>
                    <a:pt x="558" y="19"/>
                  </a:lnTo>
                  <a:lnTo>
                    <a:pt x="573" y="15"/>
                  </a:lnTo>
                  <a:lnTo>
                    <a:pt x="601" y="5"/>
                  </a:lnTo>
                  <a:lnTo>
                    <a:pt x="615" y="0"/>
                  </a:lnTo>
                  <a:lnTo>
                    <a:pt x="627" y="5"/>
                  </a:lnTo>
                  <a:lnTo>
                    <a:pt x="635" y="16"/>
                  </a:lnTo>
                  <a:lnTo>
                    <a:pt x="642" y="47"/>
                  </a:lnTo>
                  <a:lnTo>
                    <a:pt x="646" y="54"/>
                  </a:lnTo>
                  <a:lnTo>
                    <a:pt x="659" y="56"/>
                  </a:lnTo>
                  <a:lnTo>
                    <a:pt x="679" y="50"/>
                  </a:lnTo>
                  <a:lnTo>
                    <a:pt x="688" y="51"/>
                  </a:lnTo>
                  <a:lnTo>
                    <a:pt x="700" y="56"/>
                  </a:lnTo>
                  <a:lnTo>
                    <a:pt x="710" y="58"/>
                  </a:lnTo>
                  <a:lnTo>
                    <a:pt x="720" y="58"/>
                  </a:lnTo>
                  <a:lnTo>
                    <a:pt x="729" y="64"/>
                  </a:lnTo>
                  <a:lnTo>
                    <a:pt x="739" y="83"/>
                  </a:lnTo>
                  <a:lnTo>
                    <a:pt x="744" y="125"/>
                  </a:lnTo>
                  <a:lnTo>
                    <a:pt x="750" y="146"/>
                  </a:lnTo>
                  <a:lnTo>
                    <a:pt x="710" y="172"/>
                  </a:lnTo>
                  <a:lnTo>
                    <a:pt x="695" y="167"/>
                  </a:lnTo>
                  <a:lnTo>
                    <a:pt x="685" y="161"/>
                  </a:lnTo>
                  <a:lnTo>
                    <a:pt x="663" y="165"/>
                  </a:lnTo>
                  <a:lnTo>
                    <a:pt x="654" y="168"/>
                  </a:lnTo>
                  <a:lnTo>
                    <a:pt x="646" y="176"/>
                  </a:lnTo>
                  <a:lnTo>
                    <a:pt x="642" y="189"/>
                  </a:lnTo>
                  <a:lnTo>
                    <a:pt x="639" y="201"/>
                  </a:lnTo>
                  <a:lnTo>
                    <a:pt x="618" y="262"/>
                  </a:lnTo>
                  <a:lnTo>
                    <a:pt x="616" y="271"/>
                  </a:lnTo>
                  <a:lnTo>
                    <a:pt x="619" y="283"/>
                  </a:lnTo>
                  <a:lnTo>
                    <a:pt x="614" y="293"/>
                  </a:lnTo>
                  <a:lnTo>
                    <a:pt x="521" y="328"/>
                  </a:lnTo>
                  <a:lnTo>
                    <a:pt x="512" y="334"/>
                  </a:lnTo>
                  <a:lnTo>
                    <a:pt x="502" y="340"/>
                  </a:lnTo>
                  <a:lnTo>
                    <a:pt x="476" y="342"/>
                  </a:lnTo>
                  <a:lnTo>
                    <a:pt x="460" y="356"/>
                  </a:lnTo>
                  <a:lnTo>
                    <a:pt x="454" y="377"/>
                  </a:lnTo>
                  <a:lnTo>
                    <a:pt x="467" y="387"/>
                  </a:lnTo>
                  <a:lnTo>
                    <a:pt x="486" y="382"/>
                  </a:lnTo>
                  <a:lnTo>
                    <a:pt x="496" y="380"/>
                  </a:lnTo>
                  <a:lnTo>
                    <a:pt x="506" y="383"/>
                  </a:lnTo>
                  <a:lnTo>
                    <a:pt x="511" y="393"/>
                  </a:lnTo>
                  <a:lnTo>
                    <a:pt x="515" y="414"/>
                  </a:lnTo>
                  <a:lnTo>
                    <a:pt x="515" y="425"/>
                  </a:lnTo>
                  <a:lnTo>
                    <a:pt x="506" y="443"/>
                  </a:lnTo>
                  <a:lnTo>
                    <a:pt x="505" y="452"/>
                  </a:lnTo>
                  <a:lnTo>
                    <a:pt x="511" y="460"/>
                  </a:lnTo>
                  <a:lnTo>
                    <a:pt x="520" y="460"/>
                  </a:lnTo>
                  <a:lnTo>
                    <a:pt x="526" y="459"/>
                  </a:lnTo>
                  <a:lnTo>
                    <a:pt x="538" y="481"/>
                  </a:lnTo>
                  <a:lnTo>
                    <a:pt x="567" y="519"/>
                  </a:lnTo>
                  <a:lnTo>
                    <a:pt x="589" y="527"/>
                  </a:lnTo>
                  <a:lnTo>
                    <a:pt x="637" y="535"/>
                  </a:lnTo>
                  <a:lnTo>
                    <a:pt x="663" y="537"/>
                  </a:lnTo>
                  <a:lnTo>
                    <a:pt x="684" y="543"/>
                  </a:lnTo>
                  <a:lnTo>
                    <a:pt x="683" y="554"/>
                  </a:lnTo>
                  <a:lnTo>
                    <a:pt x="675" y="562"/>
                  </a:lnTo>
                  <a:lnTo>
                    <a:pt x="665" y="568"/>
                  </a:lnTo>
                  <a:lnTo>
                    <a:pt x="632" y="581"/>
                  </a:lnTo>
                  <a:lnTo>
                    <a:pt x="626" y="601"/>
                  </a:lnTo>
                  <a:lnTo>
                    <a:pt x="629" y="612"/>
                  </a:lnTo>
                  <a:lnTo>
                    <a:pt x="621" y="617"/>
                  </a:lnTo>
                  <a:lnTo>
                    <a:pt x="610" y="613"/>
                  </a:lnTo>
                  <a:lnTo>
                    <a:pt x="599" y="608"/>
                  </a:lnTo>
                  <a:lnTo>
                    <a:pt x="551" y="611"/>
                  </a:lnTo>
                  <a:lnTo>
                    <a:pt x="534" y="604"/>
                  </a:lnTo>
                  <a:lnTo>
                    <a:pt x="528" y="587"/>
                  </a:lnTo>
                  <a:lnTo>
                    <a:pt x="530" y="568"/>
                  </a:lnTo>
                  <a:lnTo>
                    <a:pt x="530" y="549"/>
                  </a:lnTo>
                  <a:lnTo>
                    <a:pt x="523" y="531"/>
                  </a:lnTo>
                  <a:lnTo>
                    <a:pt x="510" y="519"/>
                  </a:lnTo>
                  <a:lnTo>
                    <a:pt x="493" y="523"/>
                  </a:lnTo>
                  <a:lnTo>
                    <a:pt x="454" y="526"/>
                  </a:lnTo>
                  <a:lnTo>
                    <a:pt x="438" y="521"/>
                  </a:lnTo>
                  <a:lnTo>
                    <a:pt x="427" y="506"/>
                  </a:lnTo>
                  <a:lnTo>
                    <a:pt x="408" y="509"/>
                  </a:lnTo>
                  <a:lnTo>
                    <a:pt x="388" y="508"/>
                  </a:lnTo>
                  <a:lnTo>
                    <a:pt x="370" y="499"/>
                  </a:lnTo>
                  <a:lnTo>
                    <a:pt x="352" y="494"/>
                  </a:lnTo>
                  <a:lnTo>
                    <a:pt x="334" y="494"/>
                  </a:lnTo>
                  <a:lnTo>
                    <a:pt x="335" y="490"/>
                  </a:lnTo>
                  <a:lnTo>
                    <a:pt x="334" y="482"/>
                  </a:lnTo>
                  <a:lnTo>
                    <a:pt x="335" y="478"/>
                  </a:lnTo>
                  <a:lnTo>
                    <a:pt x="337" y="470"/>
                  </a:lnTo>
                  <a:lnTo>
                    <a:pt x="342" y="461"/>
                  </a:lnTo>
                  <a:lnTo>
                    <a:pt x="369" y="437"/>
                  </a:lnTo>
                  <a:lnTo>
                    <a:pt x="372" y="431"/>
                  </a:lnTo>
                  <a:lnTo>
                    <a:pt x="365" y="427"/>
                  </a:lnTo>
                  <a:lnTo>
                    <a:pt x="361" y="425"/>
                  </a:lnTo>
                  <a:lnTo>
                    <a:pt x="353" y="420"/>
                  </a:lnTo>
                  <a:lnTo>
                    <a:pt x="345" y="412"/>
                  </a:lnTo>
                  <a:lnTo>
                    <a:pt x="341" y="406"/>
                  </a:lnTo>
                  <a:lnTo>
                    <a:pt x="335" y="389"/>
                  </a:lnTo>
                  <a:lnTo>
                    <a:pt x="331" y="387"/>
                  </a:lnTo>
                  <a:lnTo>
                    <a:pt x="323" y="386"/>
                  </a:lnTo>
                  <a:lnTo>
                    <a:pt x="310" y="387"/>
                  </a:lnTo>
                  <a:lnTo>
                    <a:pt x="305" y="382"/>
                  </a:lnTo>
                  <a:lnTo>
                    <a:pt x="309" y="364"/>
                  </a:lnTo>
                  <a:lnTo>
                    <a:pt x="321" y="348"/>
                  </a:lnTo>
                  <a:lnTo>
                    <a:pt x="323" y="341"/>
                  </a:lnTo>
                  <a:lnTo>
                    <a:pt x="325" y="333"/>
                  </a:lnTo>
                  <a:lnTo>
                    <a:pt x="328" y="324"/>
                  </a:lnTo>
                  <a:lnTo>
                    <a:pt x="329" y="314"/>
                  </a:lnTo>
                  <a:lnTo>
                    <a:pt x="324" y="297"/>
                  </a:lnTo>
                  <a:lnTo>
                    <a:pt x="321" y="287"/>
                  </a:lnTo>
                  <a:lnTo>
                    <a:pt x="306" y="286"/>
                  </a:lnTo>
                  <a:lnTo>
                    <a:pt x="296" y="293"/>
                  </a:lnTo>
                  <a:lnTo>
                    <a:pt x="278" y="293"/>
                  </a:lnTo>
                  <a:lnTo>
                    <a:pt x="277" y="285"/>
                  </a:lnTo>
                  <a:lnTo>
                    <a:pt x="275" y="278"/>
                  </a:lnTo>
                  <a:lnTo>
                    <a:pt x="273" y="277"/>
                  </a:lnTo>
                  <a:lnTo>
                    <a:pt x="260" y="279"/>
                  </a:lnTo>
                  <a:lnTo>
                    <a:pt x="253" y="281"/>
                  </a:lnTo>
                  <a:lnTo>
                    <a:pt x="250" y="280"/>
                  </a:lnTo>
                  <a:lnTo>
                    <a:pt x="247" y="278"/>
                  </a:lnTo>
                  <a:lnTo>
                    <a:pt x="243" y="272"/>
                  </a:lnTo>
                  <a:lnTo>
                    <a:pt x="246" y="267"/>
                  </a:lnTo>
                  <a:lnTo>
                    <a:pt x="249" y="263"/>
                  </a:lnTo>
                  <a:lnTo>
                    <a:pt x="250" y="258"/>
                  </a:lnTo>
                  <a:lnTo>
                    <a:pt x="250" y="230"/>
                  </a:lnTo>
                  <a:lnTo>
                    <a:pt x="238" y="215"/>
                  </a:lnTo>
                  <a:lnTo>
                    <a:pt x="218" y="213"/>
                  </a:lnTo>
                  <a:lnTo>
                    <a:pt x="202" y="207"/>
                  </a:lnTo>
                  <a:lnTo>
                    <a:pt x="199" y="197"/>
                  </a:lnTo>
                  <a:lnTo>
                    <a:pt x="200" y="187"/>
                  </a:lnTo>
                  <a:lnTo>
                    <a:pt x="196" y="179"/>
                  </a:lnTo>
                  <a:lnTo>
                    <a:pt x="189" y="174"/>
                  </a:lnTo>
                  <a:lnTo>
                    <a:pt x="180" y="170"/>
                  </a:lnTo>
                  <a:lnTo>
                    <a:pt x="173" y="164"/>
                  </a:lnTo>
                  <a:lnTo>
                    <a:pt x="170" y="154"/>
                  </a:lnTo>
                  <a:lnTo>
                    <a:pt x="171" y="142"/>
                  </a:lnTo>
                  <a:lnTo>
                    <a:pt x="169" y="135"/>
                  </a:lnTo>
                  <a:lnTo>
                    <a:pt x="162" y="132"/>
                  </a:lnTo>
                  <a:lnTo>
                    <a:pt x="142" y="126"/>
                  </a:lnTo>
                  <a:lnTo>
                    <a:pt x="125" y="123"/>
                  </a:lnTo>
                  <a:lnTo>
                    <a:pt x="108" y="128"/>
                  </a:lnTo>
                  <a:lnTo>
                    <a:pt x="92" y="135"/>
                  </a:lnTo>
                  <a:lnTo>
                    <a:pt x="83" y="148"/>
                  </a:lnTo>
                  <a:lnTo>
                    <a:pt x="78" y="163"/>
                  </a:lnTo>
                  <a:lnTo>
                    <a:pt x="75" y="168"/>
                  </a:lnTo>
                  <a:lnTo>
                    <a:pt x="69" y="165"/>
                  </a:lnTo>
                  <a:lnTo>
                    <a:pt x="68" y="161"/>
                  </a:lnTo>
                  <a:lnTo>
                    <a:pt x="68" y="157"/>
                  </a:lnTo>
                  <a:lnTo>
                    <a:pt x="66" y="152"/>
                  </a:lnTo>
                  <a:lnTo>
                    <a:pt x="50" y="125"/>
                  </a:lnTo>
                  <a:lnTo>
                    <a:pt x="47" y="116"/>
                  </a:lnTo>
                  <a:lnTo>
                    <a:pt x="40" y="109"/>
                  </a:lnTo>
                  <a:lnTo>
                    <a:pt x="16" y="109"/>
                  </a:lnTo>
                  <a:lnTo>
                    <a:pt x="1" y="99"/>
                  </a:lnTo>
                  <a:lnTo>
                    <a:pt x="0" y="80"/>
                  </a:lnTo>
                  <a:lnTo>
                    <a:pt x="3" y="60"/>
                  </a:lnTo>
                  <a:lnTo>
                    <a:pt x="7" y="52"/>
                  </a:lnTo>
                  <a:lnTo>
                    <a:pt x="39" y="48"/>
                  </a:lnTo>
                  <a:lnTo>
                    <a:pt x="60" y="47"/>
                  </a:lnTo>
                  <a:lnTo>
                    <a:pt x="80" y="50"/>
                  </a:lnTo>
                  <a:lnTo>
                    <a:pt x="126" y="48"/>
                  </a:lnTo>
                  <a:lnTo>
                    <a:pt x="132" y="53"/>
                  </a:lnTo>
                  <a:lnTo>
                    <a:pt x="137" y="68"/>
                  </a:lnTo>
                  <a:lnTo>
                    <a:pt x="145" y="81"/>
                  </a:lnTo>
                  <a:lnTo>
                    <a:pt x="153" y="85"/>
                  </a:lnTo>
                  <a:lnTo>
                    <a:pt x="160" y="89"/>
                  </a:lnTo>
                  <a:lnTo>
                    <a:pt x="167" y="89"/>
                  </a:lnTo>
                  <a:lnTo>
                    <a:pt x="176" y="83"/>
                  </a:lnTo>
                  <a:lnTo>
                    <a:pt x="180" y="88"/>
                  </a:lnTo>
                  <a:lnTo>
                    <a:pt x="184" y="92"/>
                  </a:lnTo>
                  <a:lnTo>
                    <a:pt x="197" y="93"/>
                  </a:lnTo>
                  <a:lnTo>
                    <a:pt x="212" y="89"/>
                  </a:lnTo>
                  <a:lnTo>
                    <a:pt x="226" y="81"/>
                  </a:lnTo>
                  <a:lnTo>
                    <a:pt x="241" y="71"/>
                  </a:lnTo>
                  <a:lnTo>
                    <a:pt x="244" y="66"/>
                  </a:lnTo>
                  <a:lnTo>
                    <a:pt x="246" y="60"/>
                  </a:lnTo>
                  <a:lnTo>
                    <a:pt x="249" y="56"/>
                  </a:lnTo>
                  <a:lnTo>
                    <a:pt x="252" y="53"/>
                  </a:lnTo>
                  <a:lnTo>
                    <a:pt x="257" y="51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0" name="Imo"/>
            <p:cNvSpPr>
              <a:spLocks/>
            </p:cNvSpPr>
            <p:nvPr/>
          </p:nvSpPr>
          <p:spPr bwMode="auto">
            <a:xfrm>
              <a:off x="-7720314" y="5678969"/>
              <a:ext cx="378361" cy="360549"/>
            </a:xfrm>
            <a:custGeom>
              <a:avLst/>
              <a:gdLst>
                <a:gd name="T0" fmla="*/ 222 w 234"/>
                <a:gd name="T1" fmla="*/ 144 h 223"/>
                <a:gd name="T2" fmla="*/ 210 w 234"/>
                <a:gd name="T3" fmla="*/ 157 h 223"/>
                <a:gd name="T4" fmla="*/ 189 w 234"/>
                <a:gd name="T5" fmla="*/ 220 h 223"/>
                <a:gd name="T6" fmla="*/ 180 w 234"/>
                <a:gd name="T7" fmla="*/ 222 h 223"/>
                <a:gd name="T8" fmla="*/ 170 w 234"/>
                <a:gd name="T9" fmla="*/ 223 h 223"/>
                <a:gd name="T10" fmla="*/ 154 w 234"/>
                <a:gd name="T11" fmla="*/ 219 h 223"/>
                <a:gd name="T12" fmla="*/ 116 w 234"/>
                <a:gd name="T13" fmla="*/ 223 h 223"/>
                <a:gd name="T14" fmla="*/ 74 w 234"/>
                <a:gd name="T15" fmla="*/ 220 h 223"/>
                <a:gd name="T16" fmla="*/ 42 w 234"/>
                <a:gd name="T17" fmla="*/ 199 h 223"/>
                <a:gd name="T18" fmla="*/ 39 w 234"/>
                <a:gd name="T19" fmla="*/ 196 h 223"/>
                <a:gd name="T20" fmla="*/ 33 w 234"/>
                <a:gd name="T21" fmla="*/ 191 h 223"/>
                <a:gd name="T22" fmla="*/ 30 w 234"/>
                <a:gd name="T23" fmla="*/ 187 h 223"/>
                <a:gd name="T24" fmla="*/ 29 w 234"/>
                <a:gd name="T25" fmla="*/ 176 h 223"/>
                <a:gd name="T26" fmla="*/ 34 w 234"/>
                <a:gd name="T27" fmla="*/ 167 h 223"/>
                <a:gd name="T28" fmla="*/ 36 w 234"/>
                <a:gd name="T29" fmla="*/ 146 h 223"/>
                <a:gd name="T30" fmla="*/ 24 w 234"/>
                <a:gd name="T31" fmla="*/ 132 h 223"/>
                <a:gd name="T32" fmla="*/ 13 w 234"/>
                <a:gd name="T33" fmla="*/ 135 h 223"/>
                <a:gd name="T34" fmla="*/ 2 w 234"/>
                <a:gd name="T35" fmla="*/ 134 h 223"/>
                <a:gd name="T36" fmla="*/ 0 w 234"/>
                <a:gd name="T37" fmla="*/ 127 h 223"/>
                <a:gd name="T38" fmla="*/ 10 w 234"/>
                <a:gd name="T39" fmla="*/ 80 h 223"/>
                <a:gd name="T40" fmla="*/ 13 w 234"/>
                <a:gd name="T41" fmla="*/ 70 h 223"/>
                <a:gd name="T42" fmla="*/ 33 w 234"/>
                <a:gd name="T43" fmla="*/ 53 h 223"/>
                <a:gd name="T44" fmla="*/ 57 w 234"/>
                <a:gd name="T45" fmla="*/ 47 h 223"/>
                <a:gd name="T46" fmla="*/ 70 w 234"/>
                <a:gd name="T47" fmla="*/ 53 h 223"/>
                <a:gd name="T48" fmla="*/ 81 w 234"/>
                <a:gd name="T49" fmla="*/ 49 h 223"/>
                <a:gd name="T50" fmla="*/ 94 w 234"/>
                <a:gd name="T51" fmla="*/ 26 h 223"/>
                <a:gd name="T52" fmla="*/ 97 w 234"/>
                <a:gd name="T53" fmla="*/ 12 h 223"/>
                <a:gd name="T54" fmla="*/ 109 w 234"/>
                <a:gd name="T55" fmla="*/ 6 h 223"/>
                <a:gd name="T56" fmla="*/ 122 w 234"/>
                <a:gd name="T57" fmla="*/ 2 h 223"/>
                <a:gd name="T58" fmla="*/ 136 w 234"/>
                <a:gd name="T59" fmla="*/ 1 h 223"/>
                <a:gd name="T60" fmla="*/ 163 w 234"/>
                <a:gd name="T61" fmla="*/ 6 h 223"/>
                <a:gd name="T62" fmla="*/ 176 w 234"/>
                <a:gd name="T63" fmla="*/ 2 h 223"/>
                <a:gd name="T64" fmla="*/ 188 w 234"/>
                <a:gd name="T65" fmla="*/ 0 h 223"/>
                <a:gd name="T66" fmla="*/ 194 w 234"/>
                <a:gd name="T67" fmla="*/ 5 h 223"/>
                <a:gd name="T68" fmla="*/ 209 w 234"/>
                <a:gd name="T69" fmla="*/ 13 h 223"/>
                <a:gd name="T70" fmla="*/ 218 w 234"/>
                <a:gd name="T71" fmla="*/ 15 h 223"/>
                <a:gd name="T72" fmla="*/ 230 w 234"/>
                <a:gd name="T73" fmla="*/ 26 h 223"/>
                <a:gd name="T74" fmla="*/ 233 w 234"/>
                <a:gd name="T75" fmla="*/ 59 h 223"/>
                <a:gd name="T76" fmla="*/ 230 w 234"/>
                <a:gd name="T77" fmla="*/ 73 h 223"/>
                <a:gd name="T78" fmla="*/ 228 w 234"/>
                <a:gd name="T79" fmla="*/ 77 h 223"/>
                <a:gd name="T80" fmla="*/ 231 w 234"/>
                <a:gd name="T81" fmla="*/ 83 h 223"/>
                <a:gd name="T82" fmla="*/ 233 w 234"/>
                <a:gd name="T83" fmla="*/ 90 h 223"/>
                <a:gd name="T84" fmla="*/ 233 w 234"/>
                <a:gd name="T85" fmla="*/ 98 h 223"/>
                <a:gd name="T86" fmla="*/ 234 w 234"/>
                <a:gd name="T87" fmla="*/ 107 h 223"/>
                <a:gd name="T88" fmla="*/ 234 w 234"/>
                <a:gd name="T89" fmla="*/ 115 h 223"/>
                <a:gd name="T90" fmla="*/ 232 w 234"/>
                <a:gd name="T91" fmla="*/ 122 h 223"/>
                <a:gd name="T92" fmla="*/ 228 w 234"/>
                <a:gd name="T93" fmla="*/ 128 h 223"/>
                <a:gd name="T94" fmla="*/ 226 w 234"/>
                <a:gd name="T95" fmla="*/ 136 h 223"/>
                <a:gd name="T96" fmla="*/ 222 w 234"/>
                <a:gd name="T97" fmla="*/ 14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4" h="223">
                  <a:moveTo>
                    <a:pt x="222" y="144"/>
                  </a:moveTo>
                  <a:lnTo>
                    <a:pt x="210" y="157"/>
                  </a:lnTo>
                  <a:lnTo>
                    <a:pt x="189" y="220"/>
                  </a:lnTo>
                  <a:lnTo>
                    <a:pt x="180" y="222"/>
                  </a:lnTo>
                  <a:lnTo>
                    <a:pt x="170" y="223"/>
                  </a:lnTo>
                  <a:lnTo>
                    <a:pt x="154" y="219"/>
                  </a:lnTo>
                  <a:lnTo>
                    <a:pt x="116" y="223"/>
                  </a:lnTo>
                  <a:lnTo>
                    <a:pt x="74" y="220"/>
                  </a:lnTo>
                  <a:lnTo>
                    <a:pt x="42" y="199"/>
                  </a:lnTo>
                  <a:lnTo>
                    <a:pt x="39" y="196"/>
                  </a:lnTo>
                  <a:lnTo>
                    <a:pt x="33" y="191"/>
                  </a:lnTo>
                  <a:lnTo>
                    <a:pt x="30" y="187"/>
                  </a:lnTo>
                  <a:lnTo>
                    <a:pt x="29" y="176"/>
                  </a:lnTo>
                  <a:lnTo>
                    <a:pt x="34" y="167"/>
                  </a:lnTo>
                  <a:lnTo>
                    <a:pt x="36" y="146"/>
                  </a:lnTo>
                  <a:lnTo>
                    <a:pt x="24" y="132"/>
                  </a:lnTo>
                  <a:lnTo>
                    <a:pt x="13" y="135"/>
                  </a:lnTo>
                  <a:lnTo>
                    <a:pt x="2" y="134"/>
                  </a:lnTo>
                  <a:lnTo>
                    <a:pt x="0" y="127"/>
                  </a:lnTo>
                  <a:lnTo>
                    <a:pt x="10" y="80"/>
                  </a:lnTo>
                  <a:lnTo>
                    <a:pt x="13" y="70"/>
                  </a:lnTo>
                  <a:lnTo>
                    <a:pt x="33" y="53"/>
                  </a:lnTo>
                  <a:lnTo>
                    <a:pt x="57" y="47"/>
                  </a:lnTo>
                  <a:lnTo>
                    <a:pt x="70" y="53"/>
                  </a:lnTo>
                  <a:lnTo>
                    <a:pt x="81" y="49"/>
                  </a:lnTo>
                  <a:lnTo>
                    <a:pt x="94" y="26"/>
                  </a:lnTo>
                  <a:lnTo>
                    <a:pt x="97" y="12"/>
                  </a:lnTo>
                  <a:lnTo>
                    <a:pt x="109" y="6"/>
                  </a:lnTo>
                  <a:lnTo>
                    <a:pt x="122" y="2"/>
                  </a:lnTo>
                  <a:lnTo>
                    <a:pt x="136" y="1"/>
                  </a:lnTo>
                  <a:lnTo>
                    <a:pt x="163" y="6"/>
                  </a:lnTo>
                  <a:lnTo>
                    <a:pt x="176" y="2"/>
                  </a:lnTo>
                  <a:lnTo>
                    <a:pt x="188" y="0"/>
                  </a:lnTo>
                  <a:lnTo>
                    <a:pt x="194" y="5"/>
                  </a:lnTo>
                  <a:lnTo>
                    <a:pt x="209" y="13"/>
                  </a:lnTo>
                  <a:lnTo>
                    <a:pt x="218" y="15"/>
                  </a:lnTo>
                  <a:lnTo>
                    <a:pt x="230" y="26"/>
                  </a:lnTo>
                  <a:lnTo>
                    <a:pt x="233" y="59"/>
                  </a:lnTo>
                  <a:lnTo>
                    <a:pt x="230" y="73"/>
                  </a:lnTo>
                  <a:lnTo>
                    <a:pt x="228" y="77"/>
                  </a:lnTo>
                  <a:lnTo>
                    <a:pt x="231" y="83"/>
                  </a:lnTo>
                  <a:lnTo>
                    <a:pt x="233" y="90"/>
                  </a:lnTo>
                  <a:lnTo>
                    <a:pt x="233" y="98"/>
                  </a:lnTo>
                  <a:lnTo>
                    <a:pt x="234" y="107"/>
                  </a:lnTo>
                  <a:lnTo>
                    <a:pt x="234" y="115"/>
                  </a:lnTo>
                  <a:lnTo>
                    <a:pt x="232" y="122"/>
                  </a:lnTo>
                  <a:lnTo>
                    <a:pt x="228" y="128"/>
                  </a:lnTo>
                  <a:lnTo>
                    <a:pt x="226" y="136"/>
                  </a:lnTo>
                  <a:lnTo>
                    <a:pt x="222" y="144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1" name="Gombe"/>
            <p:cNvSpPr>
              <a:spLocks/>
            </p:cNvSpPr>
            <p:nvPr/>
          </p:nvSpPr>
          <p:spPr bwMode="auto">
            <a:xfrm>
              <a:off x="-5818808" y="3051652"/>
              <a:ext cx="685577" cy="852060"/>
            </a:xfrm>
            <a:custGeom>
              <a:avLst/>
              <a:gdLst>
                <a:gd name="T0" fmla="*/ 338 w 424"/>
                <a:gd name="T1" fmla="*/ 223 h 527"/>
                <a:gd name="T2" fmla="*/ 354 w 424"/>
                <a:gd name="T3" fmla="*/ 247 h 527"/>
                <a:gd name="T4" fmla="*/ 331 w 424"/>
                <a:gd name="T5" fmla="*/ 296 h 527"/>
                <a:gd name="T6" fmla="*/ 347 w 424"/>
                <a:gd name="T7" fmla="*/ 321 h 527"/>
                <a:gd name="T8" fmla="*/ 371 w 424"/>
                <a:gd name="T9" fmla="*/ 333 h 527"/>
                <a:gd name="T10" fmla="*/ 402 w 424"/>
                <a:gd name="T11" fmla="*/ 373 h 527"/>
                <a:gd name="T12" fmla="*/ 420 w 424"/>
                <a:gd name="T13" fmla="*/ 412 h 527"/>
                <a:gd name="T14" fmla="*/ 417 w 424"/>
                <a:gd name="T15" fmla="*/ 465 h 527"/>
                <a:gd name="T16" fmla="*/ 351 w 424"/>
                <a:gd name="T17" fmla="*/ 507 h 527"/>
                <a:gd name="T18" fmla="*/ 297 w 424"/>
                <a:gd name="T19" fmla="*/ 523 h 527"/>
                <a:gd name="T20" fmla="*/ 160 w 424"/>
                <a:gd name="T21" fmla="*/ 525 h 527"/>
                <a:gd name="T22" fmla="*/ 155 w 424"/>
                <a:gd name="T23" fmla="*/ 508 h 527"/>
                <a:gd name="T24" fmla="*/ 142 w 424"/>
                <a:gd name="T25" fmla="*/ 473 h 527"/>
                <a:gd name="T26" fmla="*/ 131 w 424"/>
                <a:gd name="T27" fmla="*/ 434 h 527"/>
                <a:gd name="T28" fmla="*/ 57 w 424"/>
                <a:gd name="T29" fmla="*/ 371 h 527"/>
                <a:gd name="T30" fmla="*/ 93 w 424"/>
                <a:gd name="T31" fmla="*/ 344 h 527"/>
                <a:gd name="T32" fmla="*/ 93 w 424"/>
                <a:gd name="T33" fmla="*/ 326 h 527"/>
                <a:gd name="T34" fmla="*/ 86 w 424"/>
                <a:gd name="T35" fmla="*/ 266 h 527"/>
                <a:gd name="T36" fmla="*/ 45 w 424"/>
                <a:gd name="T37" fmla="*/ 244 h 527"/>
                <a:gd name="T38" fmla="*/ 33 w 424"/>
                <a:gd name="T39" fmla="*/ 199 h 527"/>
                <a:gd name="T40" fmla="*/ 1 w 424"/>
                <a:gd name="T41" fmla="*/ 178 h 527"/>
                <a:gd name="T42" fmla="*/ 22 w 424"/>
                <a:gd name="T43" fmla="*/ 145 h 527"/>
                <a:gd name="T44" fmla="*/ 41 w 424"/>
                <a:gd name="T45" fmla="*/ 86 h 527"/>
                <a:gd name="T46" fmla="*/ 73 w 424"/>
                <a:gd name="T47" fmla="*/ 72 h 527"/>
                <a:gd name="T48" fmla="*/ 98 w 424"/>
                <a:gd name="T49" fmla="*/ 45 h 527"/>
                <a:gd name="T50" fmla="*/ 133 w 424"/>
                <a:gd name="T51" fmla="*/ 22 h 527"/>
                <a:gd name="T52" fmla="*/ 144 w 424"/>
                <a:gd name="T53" fmla="*/ 11 h 527"/>
                <a:gd name="T54" fmla="*/ 227 w 424"/>
                <a:gd name="T55" fmla="*/ 20 h 527"/>
                <a:gd name="T56" fmla="*/ 263 w 424"/>
                <a:gd name="T57" fmla="*/ 52 h 527"/>
                <a:gd name="T58" fmla="*/ 309 w 424"/>
                <a:gd name="T59" fmla="*/ 103 h 527"/>
                <a:gd name="T60" fmla="*/ 317 w 424"/>
                <a:gd name="T61" fmla="*/ 121 h 527"/>
                <a:gd name="T62" fmla="*/ 315 w 424"/>
                <a:gd name="T63" fmla="*/ 2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4" h="527">
                  <a:moveTo>
                    <a:pt x="318" y="221"/>
                  </a:moveTo>
                  <a:lnTo>
                    <a:pt x="338" y="223"/>
                  </a:lnTo>
                  <a:lnTo>
                    <a:pt x="351" y="222"/>
                  </a:lnTo>
                  <a:lnTo>
                    <a:pt x="354" y="247"/>
                  </a:lnTo>
                  <a:lnTo>
                    <a:pt x="332" y="283"/>
                  </a:lnTo>
                  <a:lnTo>
                    <a:pt x="331" y="296"/>
                  </a:lnTo>
                  <a:lnTo>
                    <a:pt x="337" y="310"/>
                  </a:lnTo>
                  <a:lnTo>
                    <a:pt x="347" y="321"/>
                  </a:lnTo>
                  <a:lnTo>
                    <a:pt x="358" y="328"/>
                  </a:lnTo>
                  <a:lnTo>
                    <a:pt x="371" y="333"/>
                  </a:lnTo>
                  <a:lnTo>
                    <a:pt x="382" y="340"/>
                  </a:lnTo>
                  <a:lnTo>
                    <a:pt x="402" y="373"/>
                  </a:lnTo>
                  <a:lnTo>
                    <a:pt x="424" y="387"/>
                  </a:lnTo>
                  <a:lnTo>
                    <a:pt x="420" y="412"/>
                  </a:lnTo>
                  <a:lnTo>
                    <a:pt x="422" y="452"/>
                  </a:lnTo>
                  <a:lnTo>
                    <a:pt x="417" y="465"/>
                  </a:lnTo>
                  <a:lnTo>
                    <a:pt x="406" y="474"/>
                  </a:lnTo>
                  <a:lnTo>
                    <a:pt x="351" y="507"/>
                  </a:lnTo>
                  <a:lnTo>
                    <a:pt x="325" y="519"/>
                  </a:lnTo>
                  <a:lnTo>
                    <a:pt x="297" y="523"/>
                  </a:lnTo>
                  <a:lnTo>
                    <a:pt x="192" y="527"/>
                  </a:lnTo>
                  <a:lnTo>
                    <a:pt x="160" y="525"/>
                  </a:lnTo>
                  <a:lnTo>
                    <a:pt x="162" y="517"/>
                  </a:lnTo>
                  <a:lnTo>
                    <a:pt x="155" y="508"/>
                  </a:lnTo>
                  <a:lnTo>
                    <a:pt x="147" y="492"/>
                  </a:lnTo>
                  <a:lnTo>
                    <a:pt x="142" y="473"/>
                  </a:lnTo>
                  <a:lnTo>
                    <a:pt x="140" y="453"/>
                  </a:lnTo>
                  <a:lnTo>
                    <a:pt x="131" y="434"/>
                  </a:lnTo>
                  <a:lnTo>
                    <a:pt x="69" y="388"/>
                  </a:lnTo>
                  <a:lnTo>
                    <a:pt x="57" y="371"/>
                  </a:lnTo>
                  <a:lnTo>
                    <a:pt x="58" y="361"/>
                  </a:lnTo>
                  <a:lnTo>
                    <a:pt x="93" y="344"/>
                  </a:lnTo>
                  <a:lnTo>
                    <a:pt x="94" y="334"/>
                  </a:lnTo>
                  <a:lnTo>
                    <a:pt x="93" y="326"/>
                  </a:lnTo>
                  <a:lnTo>
                    <a:pt x="93" y="284"/>
                  </a:lnTo>
                  <a:lnTo>
                    <a:pt x="86" y="266"/>
                  </a:lnTo>
                  <a:lnTo>
                    <a:pt x="67" y="254"/>
                  </a:lnTo>
                  <a:lnTo>
                    <a:pt x="45" y="244"/>
                  </a:lnTo>
                  <a:lnTo>
                    <a:pt x="42" y="221"/>
                  </a:lnTo>
                  <a:lnTo>
                    <a:pt x="33" y="199"/>
                  </a:lnTo>
                  <a:lnTo>
                    <a:pt x="0" y="186"/>
                  </a:lnTo>
                  <a:lnTo>
                    <a:pt x="1" y="178"/>
                  </a:lnTo>
                  <a:lnTo>
                    <a:pt x="18" y="156"/>
                  </a:lnTo>
                  <a:lnTo>
                    <a:pt x="22" y="145"/>
                  </a:lnTo>
                  <a:lnTo>
                    <a:pt x="32" y="109"/>
                  </a:lnTo>
                  <a:lnTo>
                    <a:pt x="41" y="86"/>
                  </a:lnTo>
                  <a:lnTo>
                    <a:pt x="51" y="79"/>
                  </a:lnTo>
                  <a:lnTo>
                    <a:pt x="73" y="72"/>
                  </a:lnTo>
                  <a:lnTo>
                    <a:pt x="83" y="65"/>
                  </a:lnTo>
                  <a:lnTo>
                    <a:pt x="98" y="45"/>
                  </a:lnTo>
                  <a:lnTo>
                    <a:pt x="125" y="29"/>
                  </a:lnTo>
                  <a:lnTo>
                    <a:pt x="133" y="22"/>
                  </a:lnTo>
                  <a:lnTo>
                    <a:pt x="138" y="15"/>
                  </a:lnTo>
                  <a:lnTo>
                    <a:pt x="144" y="11"/>
                  </a:lnTo>
                  <a:lnTo>
                    <a:pt x="186" y="0"/>
                  </a:lnTo>
                  <a:lnTo>
                    <a:pt x="227" y="20"/>
                  </a:lnTo>
                  <a:lnTo>
                    <a:pt x="246" y="34"/>
                  </a:lnTo>
                  <a:lnTo>
                    <a:pt x="263" y="52"/>
                  </a:lnTo>
                  <a:lnTo>
                    <a:pt x="277" y="71"/>
                  </a:lnTo>
                  <a:lnTo>
                    <a:pt x="309" y="103"/>
                  </a:lnTo>
                  <a:lnTo>
                    <a:pt x="315" y="111"/>
                  </a:lnTo>
                  <a:lnTo>
                    <a:pt x="317" y="121"/>
                  </a:lnTo>
                  <a:lnTo>
                    <a:pt x="313" y="190"/>
                  </a:lnTo>
                  <a:lnTo>
                    <a:pt x="315" y="211"/>
                  </a:lnTo>
                  <a:lnTo>
                    <a:pt x="318" y="221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2" name="Ekiti"/>
            <p:cNvSpPr>
              <a:spLocks/>
            </p:cNvSpPr>
            <p:nvPr/>
          </p:nvSpPr>
          <p:spPr bwMode="auto">
            <a:xfrm>
              <a:off x="-8556266" y="4637743"/>
              <a:ext cx="441422" cy="381567"/>
            </a:xfrm>
            <a:custGeom>
              <a:avLst/>
              <a:gdLst>
                <a:gd name="T0" fmla="*/ 235 w 273"/>
                <a:gd name="T1" fmla="*/ 79 h 236"/>
                <a:gd name="T2" fmla="*/ 259 w 273"/>
                <a:gd name="T3" fmla="*/ 90 h 236"/>
                <a:gd name="T4" fmla="*/ 273 w 273"/>
                <a:gd name="T5" fmla="*/ 94 h 236"/>
                <a:gd name="T6" fmla="*/ 267 w 273"/>
                <a:gd name="T7" fmla="*/ 102 h 236"/>
                <a:gd name="T8" fmla="*/ 259 w 273"/>
                <a:gd name="T9" fmla="*/ 105 h 236"/>
                <a:gd name="T10" fmla="*/ 251 w 273"/>
                <a:gd name="T11" fmla="*/ 101 h 236"/>
                <a:gd name="T12" fmla="*/ 244 w 273"/>
                <a:gd name="T13" fmla="*/ 105 h 236"/>
                <a:gd name="T14" fmla="*/ 241 w 273"/>
                <a:gd name="T15" fmla="*/ 111 h 236"/>
                <a:gd name="T16" fmla="*/ 237 w 273"/>
                <a:gd name="T17" fmla="*/ 117 h 236"/>
                <a:gd name="T18" fmla="*/ 228 w 273"/>
                <a:gd name="T19" fmla="*/ 121 h 236"/>
                <a:gd name="T20" fmla="*/ 216 w 273"/>
                <a:gd name="T21" fmla="*/ 135 h 236"/>
                <a:gd name="T22" fmla="*/ 212 w 273"/>
                <a:gd name="T23" fmla="*/ 143 h 236"/>
                <a:gd name="T24" fmla="*/ 206 w 273"/>
                <a:gd name="T25" fmla="*/ 172 h 236"/>
                <a:gd name="T26" fmla="*/ 190 w 273"/>
                <a:gd name="T27" fmla="*/ 211 h 236"/>
                <a:gd name="T28" fmla="*/ 159 w 273"/>
                <a:gd name="T29" fmla="*/ 236 h 236"/>
                <a:gd name="T30" fmla="*/ 141 w 273"/>
                <a:gd name="T31" fmla="*/ 230 h 236"/>
                <a:gd name="T32" fmla="*/ 135 w 273"/>
                <a:gd name="T33" fmla="*/ 210 h 236"/>
                <a:gd name="T34" fmla="*/ 128 w 273"/>
                <a:gd name="T35" fmla="*/ 195 h 236"/>
                <a:gd name="T36" fmla="*/ 113 w 273"/>
                <a:gd name="T37" fmla="*/ 190 h 236"/>
                <a:gd name="T38" fmla="*/ 91 w 273"/>
                <a:gd name="T39" fmla="*/ 191 h 236"/>
                <a:gd name="T40" fmla="*/ 58 w 273"/>
                <a:gd name="T41" fmla="*/ 189 h 236"/>
                <a:gd name="T42" fmla="*/ 47 w 273"/>
                <a:gd name="T43" fmla="*/ 189 h 236"/>
                <a:gd name="T44" fmla="*/ 26 w 273"/>
                <a:gd name="T45" fmla="*/ 196 h 236"/>
                <a:gd name="T46" fmla="*/ 2 w 273"/>
                <a:gd name="T47" fmla="*/ 133 h 236"/>
                <a:gd name="T48" fmla="*/ 0 w 273"/>
                <a:gd name="T49" fmla="*/ 118 h 236"/>
                <a:gd name="T50" fmla="*/ 3 w 273"/>
                <a:gd name="T51" fmla="*/ 103 h 236"/>
                <a:gd name="T52" fmla="*/ 6 w 273"/>
                <a:gd name="T53" fmla="*/ 67 h 236"/>
                <a:gd name="T54" fmla="*/ 20 w 273"/>
                <a:gd name="T55" fmla="*/ 50 h 236"/>
                <a:gd name="T56" fmla="*/ 32 w 273"/>
                <a:gd name="T57" fmla="*/ 44 h 236"/>
                <a:gd name="T58" fmla="*/ 41 w 273"/>
                <a:gd name="T59" fmla="*/ 36 h 236"/>
                <a:gd name="T60" fmla="*/ 48 w 273"/>
                <a:gd name="T61" fmla="*/ 11 h 236"/>
                <a:gd name="T62" fmla="*/ 51 w 273"/>
                <a:gd name="T63" fmla="*/ 13 h 236"/>
                <a:gd name="T64" fmla="*/ 52 w 273"/>
                <a:gd name="T65" fmla="*/ 18 h 236"/>
                <a:gd name="T66" fmla="*/ 58 w 273"/>
                <a:gd name="T67" fmla="*/ 21 h 236"/>
                <a:gd name="T68" fmla="*/ 78 w 273"/>
                <a:gd name="T69" fmla="*/ 15 h 236"/>
                <a:gd name="T70" fmla="*/ 97 w 273"/>
                <a:gd name="T71" fmla="*/ 27 h 236"/>
                <a:gd name="T72" fmla="*/ 110 w 273"/>
                <a:gd name="T73" fmla="*/ 28 h 236"/>
                <a:gd name="T74" fmla="*/ 117 w 273"/>
                <a:gd name="T75" fmla="*/ 30 h 236"/>
                <a:gd name="T76" fmla="*/ 129 w 273"/>
                <a:gd name="T77" fmla="*/ 28 h 236"/>
                <a:gd name="T78" fmla="*/ 132 w 273"/>
                <a:gd name="T79" fmla="*/ 29 h 236"/>
                <a:gd name="T80" fmla="*/ 134 w 273"/>
                <a:gd name="T81" fmla="*/ 28 h 236"/>
                <a:gd name="T82" fmla="*/ 138 w 273"/>
                <a:gd name="T83" fmla="*/ 21 h 236"/>
                <a:gd name="T84" fmla="*/ 140 w 273"/>
                <a:gd name="T85" fmla="*/ 11 h 236"/>
                <a:gd name="T86" fmla="*/ 147 w 273"/>
                <a:gd name="T87" fmla="*/ 4 h 236"/>
                <a:gd name="T88" fmla="*/ 157 w 273"/>
                <a:gd name="T89" fmla="*/ 1 h 236"/>
                <a:gd name="T90" fmla="*/ 190 w 273"/>
                <a:gd name="T91" fmla="*/ 0 h 236"/>
                <a:gd name="T92" fmla="*/ 183 w 273"/>
                <a:gd name="T93" fmla="*/ 8 h 236"/>
                <a:gd name="T94" fmla="*/ 183 w 273"/>
                <a:gd name="T95" fmla="*/ 20 h 236"/>
                <a:gd name="T96" fmla="*/ 190 w 273"/>
                <a:gd name="T97" fmla="*/ 23 h 236"/>
                <a:gd name="T98" fmla="*/ 198 w 273"/>
                <a:gd name="T99" fmla="*/ 18 h 236"/>
                <a:gd name="T100" fmla="*/ 209 w 273"/>
                <a:gd name="T101" fmla="*/ 15 h 236"/>
                <a:gd name="T102" fmla="*/ 220 w 273"/>
                <a:gd name="T103" fmla="*/ 14 h 236"/>
                <a:gd name="T104" fmla="*/ 225 w 273"/>
                <a:gd name="T105" fmla="*/ 15 h 236"/>
                <a:gd name="T106" fmla="*/ 230 w 273"/>
                <a:gd name="T107" fmla="*/ 18 h 236"/>
                <a:gd name="T108" fmla="*/ 230 w 273"/>
                <a:gd name="T109" fmla="*/ 25 h 236"/>
                <a:gd name="T110" fmla="*/ 222 w 273"/>
                <a:gd name="T111" fmla="*/ 29 h 236"/>
                <a:gd name="T112" fmla="*/ 214 w 273"/>
                <a:gd name="T113" fmla="*/ 40 h 236"/>
                <a:gd name="T114" fmla="*/ 212 w 273"/>
                <a:gd name="T115" fmla="*/ 52 h 236"/>
                <a:gd name="T116" fmla="*/ 216 w 273"/>
                <a:gd name="T117" fmla="*/ 65 h 236"/>
                <a:gd name="T118" fmla="*/ 226 w 273"/>
                <a:gd name="T119" fmla="*/ 75 h 236"/>
                <a:gd name="T120" fmla="*/ 231 w 273"/>
                <a:gd name="T121" fmla="*/ 75 h 236"/>
                <a:gd name="T122" fmla="*/ 235 w 273"/>
                <a:gd name="T123" fmla="*/ 79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36">
                  <a:moveTo>
                    <a:pt x="235" y="79"/>
                  </a:moveTo>
                  <a:lnTo>
                    <a:pt x="259" y="90"/>
                  </a:lnTo>
                  <a:lnTo>
                    <a:pt x="273" y="94"/>
                  </a:lnTo>
                  <a:lnTo>
                    <a:pt x="267" y="102"/>
                  </a:lnTo>
                  <a:lnTo>
                    <a:pt x="259" y="105"/>
                  </a:lnTo>
                  <a:lnTo>
                    <a:pt x="251" y="101"/>
                  </a:lnTo>
                  <a:lnTo>
                    <a:pt x="244" y="105"/>
                  </a:lnTo>
                  <a:lnTo>
                    <a:pt x="241" y="111"/>
                  </a:lnTo>
                  <a:lnTo>
                    <a:pt x="237" y="117"/>
                  </a:lnTo>
                  <a:lnTo>
                    <a:pt x="228" y="121"/>
                  </a:lnTo>
                  <a:lnTo>
                    <a:pt x="216" y="135"/>
                  </a:lnTo>
                  <a:lnTo>
                    <a:pt x="212" y="143"/>
                  </a:lnTo>
                  <a:lnTo>
                    <a:pt x="206" y="172"/>
                  </a:lnTo>
                  <a:lnTo>
                    <a:pt x="190" y="211"/>
                  </a:lnTo>
                  <a:lnTo>
                    <a:pt x="159" y="236"/>
                  </a:lnTo>
                  <a:lnTo>
                    <a:pt x="141" y="230"/>
                  </a:lnTo>
                  <a:lnTo>
                    <a:pt x="135" y="210"/>
                  </a:lnTo>
                  <a:lnTo>
                    <a:pt x="128" y="195"/>
                  </a:lnTo>
                  <a:lnTo>
                    <a:pt x="113" y="190"/>
                  </a:lnTo>
                  <a:lnTo>
                    <a:pt x="91" y="191"/>
                  </a:lnTo>
                  <a:lnTo>
                    <a:pt x="58" y="189"/>
                  </a:lnTo>
                  <a:lnTo>
                    <a:pt x="47" y="189"/>
                  </a:lnTo>
                  <a:lnTo>
                    <a:pt x="26" y="196"/>
                  </a:lnTo>
                  <a:lnTo>
                    <a:pt x="2" y="133"/>
                  </a:lnTo>
                  <a:lnTo>
                    <a:pt x="0" y="118"/>
                  </a:lnTo>
                  <a:lnTo>
                    <a:pt x="3" y="103"/>
                  </a:lnTo>
                  <a:lnTo>
                    <a:pt x="6" y="67"/>
                  </a:lnTo>
                  <a:lnTo>
                    <a:pt x="20" y="50"/>
                  </a:lnTo>
                  <a:lnTo>
                    <a:pt x="32" y="44"/>
                  </a:lnTo>
                  <a:lnTo>
                    <a:pt x="41" y="36"/>
                  </a:lnTo>
                  <a:lnTo>
                    <a:pt x="48" y="11"/>
                  </a:lnTo>
                  <a:lnTo>
                    <a:pt x="51" y="13"/>
                  </a:lnTo>
                  <a:lnTo>
                    <a:pt x="52" y="18"/>
                  </a:lnTo>
                  <a:lnTo>
                    <a:pt x="58" y="21"/>
                  </a:lnTo>
                  <a:lnTo>
                    <a:pt x="78" y="15"/>
                  </a:lnTo>
                  <a:lnTo>
                    <a:pt x="97" y="27"/>
                  </a:lnTo>
                  <a:lnTo>
                    <a:pt x="110" y="28"/>
                  </a:lnTo>
                  <a:lnTo>
                    <a:pt x="117" y="30"/>
                  </a:lnTo>
                  <a:lnTo>
                    <a:pt x="129" y="28"/>
                  </a:lnTo>
                  <a:lnTo>
                    <a:pt x="132" y="29"/>
                  </a:lnTo>
                  <a:lnTo>
                    <a:pt x="134" y="28"/>
                  </a:lnTo>
                  <a:lnTo>
                    <a:pt x="138" y="21"/>
                  </a:lnTo>
                  <a:lnTo>
                    <a:pt x="140" y="11"/>
                  </a:lnTo>
                  <a:lnTo>
                    <a:pt x="147" y="4"/>
                  </a:lnTo>
                  <a:lnTo>
                    <a:pt x="157" y="1"/>
                  </a:lnTo>
                  <a:lnTo>
                    <a:pt x="190" y="0"/>
                  </a:lnTo>
                  <a:lnTo>
                    <a:pt x="183" y="8"/>
                  </a:lnTo>
                  <a:lnTo>
                    <a:pt x="183" y="20"/>
                  </a:lnTo>
                  <a:lnTo>
                    <a:pt x="190" y="23"/>
                  </a:lnTo>
                  <a:lnTo>
                    <a:pt x="198" y="18"/>
                  </a:lnTo>
                  <a:lnTo>
                    <a:pt x="209" y="15"/>
                  </a:lnTo>
                  <a:lnTo>
                    <a:pt x="220" y="14"/>
                  </a:lnTo>
                  <a:lnTo>
                    <a:pt x="225" y="15"/>
                  </a:lnTo>
                  <a:lnTo>
                    <a:pt x="230" y="18"/>
                  </a:lnTo>
                  <a:lnTo>
                    <a:pt x="230" y="25"/>
                  </a:lnTo>
                  <a:lnTo>
                    <a:pt x="222" y="29"/>
                  </a:lnTo>
                  <a:lnTo>
                    <a:pt x="214" y="40"/>
                  </a:lnTo>
                  <a:lnTo>
                    <a:pt x="212" y="52"/>
                  </a:lnTo>
                  <a:lnTo>
                    <a:pt x="216" y="65"/>
                  </a:lnTo>
                  <a:lnTo>
                    <a:pt x="226" y="75"/>
                  </a:lnTo>
                  <a:lnTo>
                    <a:pt x="231" y="75"/>
                  </a:lnTo>
                  <a:lnTo>
                    <a:pt x="235" y="79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3" name="Edo"/>
            <p:cNvSpPr>
              <a:spLocks/>
            </p:cNvSpPr>
            <p:nvPr/>
          </p:nvSpPr>
          <p:spPr bwMode="auto">
            <a:xfrm>
              <a:off x="-8520695" y="4877032"/>
              <a:ext cx="845653" cy="890862"/>
            </a:xfrm>
            <a:custGeom>
              <a:avLst/>
              <a:gdLst>
                <a:gd name="T0" fmla="*/ 502 w 523"/>
                <a:gd name="T1" fmla="*/ 324 h 551"/>
                <a:gd name="T2" fmla="*/ 453 w 523"/>
                <a:gd name="T3" fmla="*/ 333 h 551"/>
                <a:gd name="T4" fmla="*/ 367 w 523"/>
                <a:gd name="T5" fmla="*/ 387 h 551"/>
                <a:gd name="T6" fmla="*/ 336 w 523"/>
                <a:gd name="T7" fmla="*/ 369 h 551"/>
                <a:gd name="T8" fmla="*/ 332 w 523"/>
                <a:gd name="T9" fmla="*/ 411 h 551"/>
                <a:gd name="T10" fmla="*/ 364 w 523"/>
                <a:gd name="T11" fmla="*/ 465 h 551"/>
                <a:gd name="T12" fmla="*/ 370 w 523"/>
                <a:gd name="T13" fmla="*/ 493 h 551"/>
                <a:gd name="T14" fmla="*/ 313 w 523"/>
                <a:gd name="T15" fmla="*/ 545 h 551"/>
                <a:gd name="T16" fmla="*/ 273 w 523"/>
                <a:gd name="T17" fmla="*/ 545 h 551"/>
                <a:gd name="T18" fmla="*/ 268 w 523"/>
                <a:gd name="T19" fmla="*/ 532 h 551"/>
                <a:gd name="T20" fmla="*/ 258 w 523"/>
                <a:gd name="T21" fmla="*/ 498 h 551"/>
                <a:gd name="T22" fmla="*/ 171 w 523"/>
                <a:gd name="T23" fmla="*/ 473 h 551"/>
                <a:gd name="T24" fmla="*/ 157 w 523"/>
                <a:gd name="T25" fmla="*/ 477 h 551"/>
                <a:gd name="T26" fmla="*/ 106 w 523"/>
                <a:gd name="T27" fmla="*/ 467 h 551"/>
                <a:gd name="T28" fmla="*/ 82 w 523"/>
                <a:gd name="T29" fmla="*/ 502 h 551"/>
                <a:gd name="T30" fmla="*/ 62 w 523"/>
                <a:gd name="T31" fmla="*/ 446 h 551"/>
                <a:gd name="T32" fmla="*/ 32 w 523"/>
                <a:gd name="T33" fmla="*/ 415 h 551"/>
                <a:gd name="T34" fmla="*/ 21 w 523"/>
                <a:gd name="T35" fmla="*/ 408 h 551"/>
                <a:gd name="T36" fmla="*/ 0 w 523"/>
                <a:gd name="T37" fmla="*/ 389 h 551"/>
                <a:gd name="T38" fmla="*/ 6 w 523"/>
                <a:gd name="T39" fmla="*/ 371 h 551"/>
                <a:gd name="T40" fmla="*/ 28 w 523"/>
                <a:gd name="T41" fmla="*/ 352 h 551"/>
                <a:gd name="T42" fmla="*/ 37 w 523"/>
                <a:gd name="T43" fmla="*/ 303 h 551"/>
                <a:gd name="T44" fmla="*/ 28 w 523"/>
                <a:gd name="T45" fmla="*/ 282 h 551"/>
                <a:gd name="T46" fmla="*/ 43 w 523"/>
                <a:gd name="T47" fmla="*/ 250 h 551"/>
                <a:gd name="T48" fmla="*/ 63 w 523"/>
                <a:gd name="T49" fmla="*/ 217 h 551"/>
                <a:gd name="T50" fmla="*/ 170 w 523"/>
                <a:gd name="T51" fmla="*/ 223 h 551"/>
                <a:gd name="T52" fmla="*/ 176 w 523"/>
                <a:gd name="T53" fmla="*/ 257 h 551"/>
                <a:gd name="T54" fmla="*/ 213 w 523"/>
                <a:gd name="T55" fmla="*/ 251 h 551"/>
                <a:gd name="T56" fmla="*/ 227 w 523"/>
                <a:gd name="T57" fmla="*/ 236 h 551"/>
                <a:gd name="T58" fmla="*/ 239 w 523"/>
                <a:gd name="T59" fmla="*/ 203 h 551"/>
                <a:gd name="T60" fmla="*/ 242 w 523"/>
                <a:gd name="T61" fmla="*/ 195 h 551"/>
                <a:gd name="T62" fmla="*/ 251 w 523"/>
                <a:gd name="T63" fmla="*/ 156 h 551"/>
                <a:gd name="T64" fmla="*/ 270 w 523"/>
                <a:gd name="T65" fmla="*/ 109 h 551"/>
                <a:gd name="T66" fmla="*/ 288 w 523"/>
                <a:gd name="T67" fmla="*/ 87 h 551"/>
                <a:gd name="T68" fmla="*/ 293 w 523"/>
                <a:gd name="T69" fmla="*/ 63 h 551"/>
                <a:gd name="T70" fmla="*/ 284 w 523"/>
                <a:gd name="T71" fmla="*/ 35 h 551"/>
                <a:gd name="T72" fmla="*/ 303 w 523"/>
                <a:gd name="T73" fmla="*/ 18 h 551"/>
                <a:gd name="T74" fmla="*/ 327 w 523"/>
                <a:gd name="T75" fmla="*/ 2 h 551"/>
                <a:gd name="T76" fmla="*/ 343 w 523"/>
                <a:gd name="T77" fmla="*/ 22 h 551"/>
                <a:gd name="T78" fmla="*/ 374 w 523"/>
                <a:gd name="T79" fmla="*/ 39 h 551"/>
                <a:gd name="T80" fmla="*/ 394 w 523"/>
                <a:gd name="T81" fmla="*/ 43 h 551"/>
                <a:gd name="T82" fmla="*/ 431 w 523"/>
                <a:gd name="T83" fmla="*/ 57 h 551"/>
                <a:gd name="T84" fmla="*/ 455 w 523"/>
                <a:gd name="T85" fmla="*/ 86 h 551"/>
                <a:gd name="T86" fmla="*/ 488 w 523"/>
                <a:gd name="T87" fmla="*/ 90 h 551"/>
                <a:gd name="T88" fmla="*/ 505 w 523"/>
                <a:gd name="T89" fmla="*/ 103 h 551"/>
                <a:gd name="T90" fmla="*/ 522 w 523"/>
                <a:gd name="T91" fmla="*/ 120 h 551"/>
                <a:gd name="T92" fmla="*/ 518 w 523"/>
                <a:gd name="T93" fmla="*/ 145 h 551"/>
                <a:gd name="T94" fmla="*/ 514 w 523"/>
                <a:gd name="T95" fmla="*/ 184 h 551"/>
                <a:gd name="T96" fmla="*/ 503 w 523"/>
                <a:gd name="T97" fmla="*/ 221 h 551"/>
                <a:gd name="T98" fmla="*/ 510 w 523"/>
                <a:gd name="T99" fmla="*/ 305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23" h="551">
                  <a:moveTo>
                    <a:pt x="510" y="305"/>
                  </a:moveTo>
                  <a:lnTo>
                    <a:pt x="511" y="309"/>
                  </a:lnTo>
                  <a:lnTo>
                    <a:pt x="511" y="313"/>
                  </a:lnTo>
                  <a:lnTo>
                    <a:pt x="502" y="324"/>
                  </a:lnTo>
                  <a:lnTo>
                    <a:pt x="492" y="327"/>
                  </a:lnTo>
                  <a:lnTo>
                    <a:pt x="482" y="325"/>
                  </a:lnTo>
                  <a:lnTo>
                    <a:pt x="471" y="326"/>
                  </a:lnTo>
                  <a:lnTo>
                    <a:pt x="453" y="333"/>
                  </a:lnTo>
                  <a:lnTo>
                    <a:pt x="416" y="355"/>
                  </a:lnTo>
                  <a:lnTo>
                    <a:pt x="388" y="367"/>
                  </a:lnTo>
                  <a:lnTo>
                    <a:pt x="381" y="372"/>
                  </a:lnTo>
                  <a:lnTo>
                    <a:pt x="367" y="387"/>
                  </a:lnTo>
                  <a:lnTo>
                    <a:pt x="359" y="387"/>
                  </a:lnTo>
                  <a:lnTo>
                    <a:pt x="353" y="377"/>
                  </a:lnTo>
                  <a:lnTo>
                    <a:pt x="346" y="370"/>
                  </a:lnTo>
                  <a:lnTo>
                    <a:pt x="336" y="369"/>
                  </a:lnTo>
                  <a:lnTo>
                    <a:pt x="328" y="375"/>
                  </a:lnTo>
                  <a:lnTo>
                    <a:pt x="324" y="383"/>
                  </a:lnTo>
                  <a:lnTo>
                    <a:pt x="323" y="395"/>
                  </a:lnTo>
                  <a:lnTo>
                    <a:pt x="332" y="411"/>
                  </a:lnTo>
                  <a:lnTo>
                    <a:pt x="334" y="421"/>
                  </a:lnTo>
                  <a:lnTo>
                    <a:pt x="338" y="434"/>
                  </a:lnTo>
                  <a:lnTo>
                    <a:pt x="346" y="449"/>
                  </a:lnTo>
                  <a:lnTo>
                    <a:pt x="364" y="465"/>
                  </a:lnTo>
                  <a:lnTo>
                    <a:pt x="370" y="466"/>
                  </a:lnTo>
                  <a:lnTo>
                    <a:pt x="374" y="469"/>
                  </a:lnTo>
                  <a:lnTo>
                    <a:pt x="374" y="482"/>
                  </a:lnTo>
                  <a:lnTo>
                    <a:pt x="370" y="493"/>
                  </a:lnTo>
                  <a:lnTo>
                    <a:pt x="358" y="507"/>
                  </a:lnTo>
                  <a:lnTo>
                    <a:pt x="342" y="520"/>
                  </a:lnTo>
                  <a:lnTo>
                    <a:pt x="329" y="534"/>
                  </a:lnTo>
                  <a:lnTo>
                    <a:pt x="313" y="545"/>
                  </a:lnTo>
                  <a:lnTo>
                    <a:pt x="284" y="551"/>
                  </a:lnTo>
                  <a:lnTo>
                    <a:pt x="278" y="551"/>
                  </a:lnTo>
                  <a:lnTo>
                    <a:pt x="274" y="550"/>
                  </a:lnTo>
                  <a:lnTo>
                    <a:pt x="273" y="545"/>
                  </a:lnTo>
                  <a:lnTo>
                    <a:pt x="274" y="542"/>
                  </a:lnTo>
                  <a:lnTo>
                    <a:pt x="273" y="538"/>
                  </a:lnTo>
                  <a:lnTo>
                    <a:pt x="270" y="535"/>
                  </a:lnTo>
                  <a:lnTo>
                    <a:pt x="268" y="532"/>
                  </a:lnTo>
                  <a:lnTo>
                    <a:pt x="274" y="522"/>
                  </a:lnTo>
                  <a:lnTo>
                    <a:pt x="276" y="510"/>
                  </a:lnTo>
                  <a:lnTo>
                    <a:pt x="268" y="504"/>
                  </a:lnTo>
                  <a:lnTo>
                    <a:pt x="258" y="498"/>
                  </a:lnTo>
                  <a:lnTo>
                    <a:pt x="241" y="481"/>
                  </a:lnTo>
                  <a:lnTo>
                    <a:pt x="205" y="461"/>
                  </a:lnTo>
                  <a:lnTo>
                    <a:pt x="187" y="462"/>
                  </a:lnTo>
                  <a:lnTo>
                    <a:pt x="171" y="473"/>
                  </a:lnTo>
                  <a:lnTo>
                    <a:pt x="169" y="477"/>
                  </a:lnTo>
                  <a:lnTo>
                    <a:pt x="166" y="480"/>
                  </a:lnTo>
                  <a:lnTo>
                    <a:pt x="162" y="479"/>
                  </a:lnTo>
                  <a:lnTo>
                    <a:pt x="157" y="477"/>
                  </a:lnTo>
                  <a:lnTo>
                    <a:pt x="146" y="468"/>
                  </a:lnTo>
                  <a:lnTo>
                    <a:pt x="135" y="467"/>
                  </a:lnTo>
                  <a:lnTo>
                    <a:pt x="126" y="469"/>
                  </a:lnTo>
                  <a:lnTo>
                    <a:pt x="106" y="467"/>
                  </a:lnTo>
                  <a:lnTo>
                    <a:pt x="103" y="476"/>
                  </a:lnTo>
                  <a:lnTo>
                    <a:pt x="104" y="485"/>
                  </a:lnTo>
                  <a:lnTo>
                    <a:pt x="88" y="500"/>
                  </a:lnTo>
                  <a:lnTo>
                    <a:pt x="82" y="502"/>
                  </a:lnTo>
                  <a:lnTo>
                    <a:pt x="75" y="498"/>
                  </a:lnTo>
                  <a:lnTo>
                    <a:pt x="73" y="482"/>
                  </a:lnTo>
                  <a:lnTo>
                    <a:pt x="76" y="462"/>
                  </a:lnTo>
                  <a:lnTo>
                    <a:pt x="62" y="446"/>
                  </a:lnTo>
                  <a:lnTo>
                    <a:pt x="41" y="436"/>
                  </a:lnTo>
                  <a:lnTo>
                    <a:pt x="41" y="426"/>
                  </a:lnTo>
                  <a:lnTo>
                    <a:pt x="35" y="418"/>
                  </a:lnTo>
                  <a:lnTo>
                    <a:pt x="32" y="415"/>
                  </a:lnTo>
                  <a:lnTo>
                    <a:pt x="28" y="414"/>
                  </a:lnTo>
                  <a:lnTo>
                    <a:pt x="25" y="414"/>
                  </a:lnTo>
                  <a:lnTo>
                    <a:pt x="22" y="412"/>
                  </a:lnTo>
                  <a:lnTo>
                    <a:pt x="21" y="408"/>
                  </a:lnTo>
                  <a:lnTo>
                    <a:pt x="15" y="401"/>
                  </a:lnTo>
                  <a:lnTo>
                    <a:pt x="8" y="395"/>
                  </a:lnTo>
                  <a:lnTo>
                    <a:pt x="2" y="392"/>
                  </a:lnTo>
                  <a:lnTo>
                    <a:pt x="0" y="389"/>
                  </a:lnTo>
                  <a:lnTo>
                    <a:pt x="1" y="386"/>
                  </a:lnTo>
                  <a:lnTo>
                    <a:pt x="3" y="384"/>
                  </a:lnTo>
                  <a:lnTo>
                    <a:pt x="5" y="380"/>
                  </a:lnTo>
                  <a:lnTo>
                    <a:pt x="6" y="371"/>
                  </a:lnTo>
                  <a:lnTo>
                    <a:pt x="10" y="365"/>
                  </a:lnTo>
                  <a:lnTo>
                    <a:pt x="17" y="363"/>
                  </a:lnTo>
                  <a:lnTo>
                    <a:pt x="24" y="359"/>
                  </a:lnTo>
                  <a:lnTo>
                    <a:pt x="28" y="352"/>
                  </a:lnTo>
                  <a:lnTo>
                    <a:pt x="30" y="342"/>
                  </a:lnTo>
                  <a:lnTo>
                    <a:pt x="35" y="335"/>
                  </a:lnTo>
                  <a:lnTo>
                    <a:pt x="43" y="319"/>
                  </a:lnTo>
                  <a:lnTo>
                    <a:pt x="37" y="303"/>
                  </a:lnTo>
                  <a:lnTo>
                    <a:pt x="32" y="295"/>
                  </a:lnTo>
                  <a:lnTo>
                    <a:pt x="29" y="294"/>
                  </a:lnTo>
                  <a:lnTo>
                    <a:pt x="28" y="291"/>
                  </a:lnTo>
                  <a:lnTo>
                    <a:pt x="28" y="282"/>
                  </a:lnTo>
                  <a:lnTo>
                    <a:pt x="29" y="278"/>
                  </a:lnTo>
                  <a:lnTo>
                    <a:pt x="30" y="269"/>
                  </a:lnTo>
                  <a:lnTo>
                    <a:pt x="33" y="261"/>
                  </a:lnTo>
                  <a:lnTo>
                    <a:pt x="43" y="250"/>
                  </a:lnTo>
                  <a:lnTo>
                    <a:pt x="54" y="240"/>
                  </a:lnTo>
                  <a:lnTo>
                    <a:pt x="58" y="232"/>
                  </a:lnTo>
                  <a:lnTo>
                    <a:pt x="63" y="226"/>
                  </a:lnTo>
                  <a:lnTo>
                    <a:pt x="63" y="217"/>
                  </a:lnTo>
                  <a:lnTo>
                    <a:pt x="66" y="213"/>
                  </a:lnTo>
                  <a:lnTo>
                    <a:pt x="71" y="211"/>
                  </a:lnTo>
                  <a:lnTo>
                    <a:pt x="155" y="211"/>
                  </a:lnTo>
                  <a:lnTo>
                    <a:pt x="170" y="223"/>
                  </a:lnTo>
                  <a:lnTo>
                    <a:pt x="164" y="230"/>
                  </a:lnTo>
                  <a:lnTo>
                    <a:pt x="161" y="238"/>
                  </a:lnTo>
                  <a:lnTo>
                    <a:pt x="170" y="258"/>
                  </a:lnTo>
                  <a:lnTo>
                    <a:pt x="176" y="257"/>
                  </a:lnTo>
                  <a:lnTo>
                    <a:pt x="190" y="245"/>
                  </a:lnTo>
                  <a:lnTo>
                    <a:pt x="199" y="246"/>
                  </a:lnTo>
                  <a:lnTo>
                    <a:pt x="202" y="249"/>
                  </a:lnTo>
                  <a:lnTo>
                    <a:pt x="213" y="251"/>
                  </a:lnTo>
                  <a:lnTo>
                    <a:pt x="218" y="250"/>
                  </a:lnTo>
                  <a:lnTo>
                    <a:pt x="221" y="248"/>
                  </a:lnTo>
                  <a:lnTo>
                    <a:pt x="225" y="240"/>
                  </a:lnTo>
                  <a:lnTo>
                    <a:pt x="227" y="236"/>
                  </a:lnTo>
                  <a:lnTo>
                    <a:pt x="230" y="217"/>
                  </a:lnTo>
                  <a:lnTo>
                    <a:pt x="233" y="209"/>
                  </a:lnTo>
                  <a:lnTo>
                    <a:pt x="239" y="208"/>
                  </a:lnTo>
                  <a:lnTo>
                    <a:pt x="239" y="203"/>
                  </a:lnTo>
                  <a:lnTo>
                    <a:pt x="241" y="201"/>
                  </a:lnTo>
                  <a:lnTo>
                    <a:pt x="242" y="201"/>
                  </a:lnTo>
                  <a:lnTo>
                    <a:pt x="243" y="198"/>
                  </a:lnTo>
                  <a:lnTo>
                    <a:pt x="242" y="195"/>
                  </a:lnTo>
                  <a:lnTo>
                    <a:pt x="238" y="185"/>
                  </a:lnTo>
                  <a:lnTo>
                    <a:pt x="239" y="174"/>
                  </a:lnTo>
                  <a:lnTo>
                    <a:pt x="242" y="164"/>
                  </a:lnTo>
                  <a:lnTo>
                    <a:pt x="251" y="156"/>
                  </a:lnTo>
                  <a:lnTo>
                    <a:pt x="255" y="150"/>
                  </a:lnTo>
                  <a:lnTo>
                    <a:pt x="257" y="143"/>
                  </a:lnTo>
                  <a:lnTo>
                    <a:pt x="270" y="112"/>
                  </a:lnTo>
                  <a:lnTo>
                    <a:pt x="270" y="109"/>
                  </a:lnTo>
                  <a:lnTo>
                    <a:pt x="270" y="105"/>
                  </a:lnTo>
                  <a:lnTo>
                    <a:pt x="276" y="98"/>
                  </a:lnTo>
                  <a:lnTo>
                    <a:pt x="284" y="90"/>
                  </a:lnTo>
                  <a:lnTo>
                    <a:pt x="288" y="87"/>
                  </a:lnTo>
                  <a:lnTo>
                    <a:pt x="293" y="83"/>
                  </a:lnTo>
                  <a:lnTo>
                    <a:pt x="296" y="74"/>
                  </a:lnTo>
                  <a:lnTo>
                    <a:pt x="295" y="67"/>
                  </a:lnTo>
                  <a:lnTo>
                    <a:pt x="293" y="63"/>
                  </a:lnTo>
                  <a:lnTo>
                    <a:pt x="292" y="54"/>
                  </a:lnTo>
                  <a:lnTo>
                    <a:pt x="295" y="46"/>
                  </a:lnTo>
                  <a:lnTo>
                    <a:pt x="294" y="41"/>
                  </a:lnTo>
                  <a:lnTo>
                    <a:pt x="284" y="35"/>
                  </a:lnTo>
                  <a:lnTo>
                    <a:pt x="287" y="25"/>
                  </a:lnTo>
                  <a:lnTo>
                    <a:pt x="292" y="22"/>
                  </a:lnTo>
                  <a:lnTo>
                    <a:pt x="300" y="20"/>
                  </a:lnTo>
                  <a:lnTo>
                    <a:pt x="303" y="18"/>
                  </a:lnTo>
                  <a:lnTo>
                    <a:pt x="310" y="11"/>
                  </a:lnTo>
                  <a:lnTo>
                    <a:pt x="315" y="0"/>
                  </a:lnTo>
                  <a:lnTo>
                    <a:pt x="321" y="3"/>
                  </a:lnTo>
                  <a:lnTo>
                    <a:pt x="327" y="2"/>
                  </a:lnTo>
                  <a:lnTo>
                    <a:pt x="331" y="5"/>
                  </a:lnTo>
                  <a:lnTo>
                    <a:pt x="330" y="12"/>
                  </a:lnTo>
                  <a:lnTo>
                    <a:pt x="341" y="15"/>
                  </a:lnTo>
                  <a:lnTo>
                    <a:pt x="343" y="22"/>
                  </a:lnTo>
                  <a:lnTo>
                    <a:pt x="340" y="35"/>
                  </a:lnTo>
                  <a:lnTo>
                    <a:pt x="347" y="45"/>
                  </a:lnTo>
                  <a:lnTo>
                    <a:pt x="360" y="44"/>
                  </a:lnTo>
                  <a:lnTo>
                    <a:pt x="374" y="39"/>
                  </a:lnTo>
                  <a:lnTo>
                    <a:pt x="381" y="35"/>
                  </a:lnTo>
                  <a:lnTo>
                    <a:pt x="387" y="34"/>
                  </a:lnTo>
                  <a:lnTo>
                    <a:pt x="390" y="39"/>
                  </a:lnTo>
                  <a:lnTo>
                    <a:pt x="394" y="43"/>
                  </a:lnTo>
                  <a:lnTo>
                    <a:pt x="404" y="49"/>
                  </a:lnTo>
                  <a:lnTo>
                    <a:pt x="412" y="60"/>
                  </a:lnTo>
                  <a:lnTo>
                    <a:pt x="420" y="60"/>
                  </a:lnTo>
                  <a:lnTo>
                    <a:pt x="431" y="57"/>
                  </a:lnTo>
                  <a:lnTo>
                    <a:pt x="437" y="58"/>
                  </a:lnTo>
                  <a:lnTo>
                    <a:pt x="445" y="64"/>
                  </a:lnTo>
                  <a:lnTo>
                    <a:pt x="451" y="81"/>
                  </a:lnTo>
                  <a:lnTo>
                    <a:pt x="455" y="86"/>
                  </a:lnTo>
                  <a:lnTo>
                    <a:pt x="456" y="92"/>
                  </a:lnTo>
                  <a:lnTo>
                    <a:pt x="461" y="98"/>
                  </a:lnTo>
                  <a:lnTo>
                    <a:pt x="476" y="95"/>
                  </a:lnTo>
                  <a:lnTo>
                    <a:pt x="488" y="90"/>
                  </a:lnTo>
                  <a:lnTo>
                    <a:pt x="496" y="89"/>
                  </a:lnTo>
                  <a:lnTo>
                    <a:pt x="500" y="92"/>
                  </a:lnTo>
                  <a:lnTo>
                    <a:pt x="504" y="97"/>
                  </a:lnTo>
                  <a:lnTo>
                    <a:pt x="505" y="103"/>
                  </a:lnTo>
                  <a:lnTo>
                    <a:pt x="509" y="105"/>
                  </a:lnTo>
                  <a:lnTo>
                    <a:pt x="517" y="107"/>
                  </a:lnTo>
                  <a:lnTo>
                    <a:pt x="518" y="109"/>
                  </a:lnTo>
                  <a:lnTo>
                    <a:pt x="522" y="120"/>
                  </a:lnTo>
                  <a:lnTo>
                    <a:pt x="523" y="122"/>
                  </a:lnTo>
                  <a:lnTo>
                    <a:pt x="523" y="128"/>
                  </a:lnTo>
                  <a:lnTo>
                    <a:pt x="522" y="133"/>
                  </a:lnTo>
                  <a:lnTo>
                    <a:pt x="518" y="145"/>
                  </a:lnTo>
                  <a:lnTo>
                    <a:pt x="517" y="160"/>
                  </a:lnTo>
                  <a:lnTo>
                    <a:pt x="515" y="167"/>
                  </a:lnTo>
                  <a:lnTo>
                    <a:pt x="514" y="170"/>
                  </a:lnTo>
                  <a:lnTo>
                    <a:pt x="514" y="184"/>
                  </a:lnTo>
                  <a:lnTo>
                    <a:pt x="514" y="187"/>
                  </a:lnTo>
                  <a:lnTo>
                    <a:pt x="506" y="203"/>
                  </a:lnTo>
                  <a:lnTo>
                    <a:pt x="503" y="215"/>
                  </a:lnTo>
                  <a:lnTo>
                    <a:pt x="503" y="221"/>
                  </a:lnTo>
                  <a:lnTo>
                    <a:pt x="504" y="236"/>
                  </a:lnTo>
                  <a:lnTo>
                    <a:pt x="503" y="275"/>
                  </a:lnTo>
                  <a:lnTo>
                    <a:pt x="504" y="287"/>
                  </a:lnTo>
                  <a:lnTo>
                    <a:pt x="510" y="305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4" name="Ebonyi"/>
            <p:cNvSpPr>
              <a:spLocks/>
            </p:cNvSpPr>
            <p:nvPr/>
          </p:nvSpPr>
          <p:spPr bwMode="auto">
            <a:xfrm>
              <a:off x="-7282129" y="5258599"/>
              <a:ext cx="443038" cy="535165"/>
            </a:xfrm>
            <a:custGeom>
              <a:avLst/>
              <a:gdLst>
                <a:gd name="T0" fmla="*/ 70 w 274"/>
                <a:gd name="T1" fmla="*/ 50 h 331"/>
                <a:gd name="T2" fmla="*/ 100 w 274"/>
                <a:gd name="T3" fmla="*/ 70 h 331"/>
                <a:gd name="T4" fmla="*/ 134 w 274"/>
                <a:gd name="T5" fmla="*/ 63 h 331"/>
                <a:gd name="T6" fmla="*/ 142 w 274"/>
                <a:gd name="T7" fmla="*/ 29 h 331"/>
                <a:gd name="T8" fmla="*/ 167 w 274"/>
                <a:gd name="T9" fmla="*/ 27 h 331"/>
                <a:gd name="T10" fmla="*/ 189 w 274"/>
                <a:gd name="T11" fmla="*/ 9 h 331"/>
                <a:gd name="T12" fmla="*/ 204 w 274"/>
                <a:gd name="T13" fmla="*/ 8 h 331"/>
                <a:gd name="T14" fmla="*/ 208 w 274"/>
                <a:gd name="T15" fmla="*/ 0 h 331"/>
                <a:gd name="T16" fmla="*/ 217 w 274"/>
                <a:gd name="T17" fmla="*/ 5 h 331"/>
                <a:gd name="T18" fmla="*/ 223 w 274"/>
                <a:gd name="T19" fmla="*/ 27 h 331"/>
                <a:gd name="T20" fmla="*/ 234 w 274"/>
                <a:gd name="T21" fmla="*/ 51 h 331"/>
                <a:gd name="T22" fmla="*/ 250 w 274"/>
                <a:gd name="T23" fmla="*/ 67 h 331"/>
                <a:gd name="T24" fmla="*/ 256 w 274"/>
                <a:gd name="T25" fmla="*/ 73 h 331"/>
                <a:gd name="T26" fmla="*/ 262 w 274"/>
                <a:gd name="T27" fmla="*/ 82 h 331"/>
                <a:gd name="T28" fmla="*/ 267 w 274"/>
                <a:gd name="T29" fmla="*/ 100 h 331"/>
                <a:gd name="T30" fmla="*/ 274 w 274"/>
                <a:gd name="T31" fmla="*/ 117 h 331"/>
                <a:gd name="T32" fmla="*/ 254 w 274"/>
                <a:gd name="T33" fmla="*/ 137 h 331"/>
                <a:gd name="T34" fmla="*/ 257 w 274"/>
                <a:gd name="T35" fmla="*/ 167 h 331"/>
                <a:gd name="T36" fmla="*/ 233 w 274"/>
                <a:gd name="T37" fmla="*/ 192 h 331"/>
                <a:gd name="T38" fmla="*/ 221 w 274"/>
                <a:gd name="T39" fmla="*/ 224 h 331"/>
                <a:gd name="T40" fmla="*/ 208 w 274"/>
                <a:gd name="T41" fmla="*/ 228 h 331"/>
                <a:gd name="T42" fmla="*/ 196 w 274"/>
                <a:gd name="T43" fmla="*/ 235 h 331"/>
                <a:gd name="T44" fmla="*/ 177 w 274"/>
                <a:gd name="T45" fmla="*/ 248 h 331"/>
                <a:gd name="T46" fmla="*/ 164 w 274"/>
                <a:gd name="T47" fmla="*/ 253 h 331"/>
                <a:gd name="T48" fmla="*/ 147 w 274"/>
                <a:gd name="T49" fmla="*/ 237 h 331"/>
                <a:gd name="T50" fmla="*/ 131 w 274"/>
                <a:gd name="T51" fmla="*/ 248 h 331"/>
                <a:gd name="T52" fmla="*/ 133 w 274"/>
                <a:gd name="T53" fmla="*/ 270 h 331"/>
                <a:gd name="T54" fmla="*/ 118 w 274"/>
                <a:gd name="T55" fmla="*/ 291 h 331"/>
                <a:gd name="T56" fmla="*/ 119 w 274"/>
                <a:gd name="T57" fmla="*/ 305 h 331"/>
                <a:gd name="T58" fmla="*/ 109 w 274"/>
                <a:gd name="T59" fmla="*/ 316 h 331"/>
                <a:gd name="T60" fmla="*/ 105 w 274"/>
                <a:gd name="T61" fmla="*/ 331 h 331"/>
                <a:gd name="T62" fmla="*/ 85 w 274"/>
                <a:gd name="T63" fmla="*/ 319 h 331"/>
                <a:gd name="T64" fmla="*/ 78 w 274"/>
                <a:gd name="T65" fmla="*/ 300 h 331"/>
                <a:gd name="T66" fmla="*/ 18 w 274"/>
                <a:gd name="T67" fmla="*/ 292 h 331"/>
                <a:gd name="T68" fmla="*/ 3 w 274"/>
                <a:gd name="T69" fmla="*/ 264 h 331"/>
                <a:gd name="T70" fmla="*/ 17 w 274"/>
                <a:gd name="T71" fmla="*/ 242 h 331"/>
                <a:gd name="T72" fmla="*/ 32 w 274"/>
                <a:gd name="T73" fmla="*/ 250 h 331"/>
                <a:gd name="T74" fmla="*/ 50 w 274"/>
                <a:gd name="T75" fmla="*/ 255 h 331"/>
                <a:gd name="T76" fmla="*/ 49 w 274"/>
                <a:gd name="T77" fmla="*/ 224 h 331"/>
                <a:gd name="T78" fmla="*/ 62 w 274"/>
                <a:gd name="T79" fmla="*/ 208 h 331"/>
                <a:gd name="T80" fmla="*/ 59 w 274"/>
                <a:gd name="T81" fmla="*/ 189 h 331"/>
                <a:gd name="T82" fmla="*/ 55 w 274"/>
                <a:gd name="T83" fmla="*/ 168 h 331"/>
                <a:gd name="T84" fmla="*/ 49 w 274"/>
                <a:gd name="T85" fmla="*/ 156 h 331"/>
                <a:gd name="T86" fmla="*/ 63 w 274"/>
                <a:gd name="T87" fmla="*/ 94 h 331"/>
                <a:gd name="T88" fmla="*/ 60 w 274"/>
                <a:gd name="T89" fmla="*/ 4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4" h="331">
                  <a:moveTo>
                    <a:pt x="60" y="49"/>
                  </a:moveTo>
                  <a:lnTo>
                    <a:pt x="70" y="50"/>
                  </a:lnTo>
                  <a:lnTo>
                    <a:pt x="91" y="48"/>
                  </a:lnTo>
                  <a:lnTo>
                    <a:pt x="100" y="70"/>
                  </a:lnTo>
                  <a:lnTo>
                    <a:pt x="121" y="82"/>
                  </a:lnTo>
                  <a:lnTo>
                    <a:pt x="134" y="63"/>
                  </a:lnTo>
                  <a:lnTo>
                    <a:pt x="137" y="39"/>
                  </a:lnTo>
                  <a:lnTo>
                    <a:pt x="142" y="29"/>
                  </a:lnTo>
                  <a:lnTo>
                    <a:pt x="154" y="27"/>
                  </a:lnTo>
                  <a:lnTo>
                    <a:pt x="167" y="27"/>
                  </a:lnTo>
                  <a:lnTo>
                    <a:pt x="178" y="24"/>
                  </a:lnTo>
                  <a:lnTo>
                    <a:pt x="189" y="9"/>
                  </a:lnTo>
                  <a:lnTo>
                    <a:pt x="196" y="8"/>
                  </a:lnTo>
                  <a:lnTo>
                    <a:pt x="204" y="8"/>
                  </a:lnTo>
                  <a:lnTo>
                    <a:pt x="207" y="3"/>
                  </a:lnTo>
                  <a:lnTo>
                    <a:pt x="208" y="0"/>
                  </a:lnTo>
                  <a:lnTo>
                    <a:pt x="214" y="0"/>
                  </a:lnTo>
                  <a:lnTo>
                    <a:pt x="217" y="5"/>
                  </a:lnTo>
                  <a:lnTo>
                    <a:pt x="219" y="17"/>
                  </a:lnTo>
                  <a:lnTo>
                    <a:pt x="223" y="27"/>
                  </a:lnTo>
                  <a:lnTo>
                    <a:pt x="230" y="35"/>
                  </a:lnTo>
                  <a:lnTo>
                    <a:pt x="234" y="51"/>
                  </a:lnTo>
                  <a:lnTo>
                    <a:pt x="246" y="64"/>
                  </a:lnTo>
                  <a:lnTo>
                    <a:pt x="250" y="67"/>
                  </a:lnTo>
                  <a:lnTo>
                    <a:pt x="254" y="70"/>
                  </a:lnTo>
                  <a:lnTo>
                    <a:pt x="256" y="73"/>
                  </a:lnTo>
                  <a:lnTo>
                    <a:pt x="258" y="77"/>
                  </a:lnTo>
                  <a:lnTo>
                    <a:pt x="262" y="82"/>
                  </a:lnTo>
                  <a:lnTo>
                    <a:pt x="264" y="92"/>
                  </a:lnTo>
                  <a:lnTo>
                    <a:pt x="267" y="100"/>
                  </a:lnTo>
                  <a:lnTo>
                    <a:pt x="273" y="107"/>
                  </a:lnTo>
                  <a:lnTo>
                    <a:pt x="274" y="117"/>
                  </a:lnTo>
                  <a:lnTo>
                    <a:pt x="256" y="128"/>
                  </a:lnTo>
                  <a:lnTo>
                    <a:pt x="254" y="137"/>
                  </a:lnTo>
                  <a:lnTo>
                    <a:pt x="259" y="146"/>
                  </a:lnTo>
                  <a:lnTo>
                    <a:pt x="257" y="167"/>
                  </a:lnTo>
                  <a:lnTo>
                    <a:pt x="240" y="184"/>
                  </a:lnTo>
                  <a:lnTo>
                    <a:pt x="233" y="192"/>
                  </a:lnTo>
                  <a:lnTo>
                    <a:pt x="227" y="202"/>
                  </a:lnTo>
                  <a:lnTo>
                    <a:pt x="221" y="224"/>
                  </a:lnTo>
                  <a:lnTo>
                    <a:pt x="217" y="232"/>
                  </a:lnTo>
                  <a:lnTo>
                    <a:pt x="208" y="228"/>
                  </a:lnTo>
                  <a:lnTo>
                    <a:pt x="200" y="228"/>
                  </a:lnTo>
                  <a:lnTo>
                    <a:pt x="196" y="235"/>
                  </a:lnTo>
                  <a:lnTo>
                    <a:pt x="191" y="241"/>
                  </a:lnTo>
                  <a:lnTo>
                    <a:pt x="177" y="248"/>
                  </a:lnTo>
                  <a:lnTo>
                    <a:pt x="172" y="253"/>
                  </a:lnTo>
                  <a:lnTo>
                    <a:pt x="164" y="253"/>
                  </a:lnTo>
                  <a:lnTo>
                    <a:pt x="158" y="240"/>
                  </a:lnTo>
                  <a:lnTo>
                    <a:pt x="147" y="237"/>
                  </a:lnTo>
                  <a:lnTo>
                    <a:pt x="135" y="240"/>
                  </a:lnTo>
                  <a:lnTo>
                    <a:pt x="131" y="248"/>
                  </a:lnTo>
                  <a:lnTo>
                    <a:pt x="136" y="257"/>
                  </a:lnTo>
                  <a:lnTo>
                    <a:pt x="133" y="270"/>
                  </a:lnTo>
                  <a:lnTo>
                    <a:pt x="122" y="287"/>
                  </a:lnTo>
                  <a:lnTo>
                    <a:pt x="118" y="291"/>
                  </a:lnTo>
                  <a:lnTo>
                    <a:pt x="118" y="298"/>
                  </a:lnTo>
                  <a:lnTo>
                    <a:pt x="119" y="305"/>
                  </a:lnTo>
                  <a:lnTo>
                    <a:pt x="115" y="311"/>
                  </a:lnTo>
                  <a:lnTo>
                    <a:pt x="109" y="316"/>
                  </a:lnTo>
                  <a:lnTo>
                    <a:pt x="106" y="324"/>
                  </a:lnTo>
                  <a:lnTo>
                    <a:pt x="105" y="331"/>
                  </a:lnTo>
                  <a:lnTo>
                    <a:pt x="94" y="327"/>
                  </a:lnTo>
                  <a:lnTo>
                    <a:pt x="85" y="319"/>
                  </a:lnTo>
                  <a:lnTo>
                    <a:pt x="80" y="310"/>
                  </a:lnTo>
                  <a:lnTo>
                    <a:pt x="78" y="300"/>
                  </a:lnTo>
                  <a:lnTo>
                    <a:pt x="61" y="293"/>
                  </a:lnTo>
                  <a:lnTo>
                    <a:pt x="18" y="292"/>
                  </a:lnTo>
                  <a:lnTo>
                    <a:pt x="0" y="283"/>
                  </a:lnTo>
                  <a:lnTo>
                    <a:pt x="3" y="264"/>
                  </a:lnTo>
                  <a:lnTo>
                    <a:pt x="2" y="246"/>
                  </a:lnTo>
                  <a:lnTo>
                    <a:pt x="17" y="242"/>
                  </a:lnTo>
                  <a:lnTo>
                    <a:pt x="24" y="246"/>
                  </a:lnTo>
                  <a:lnTo>
                    <a:pt x="32" y="250"/>
                  </a:lnTo>
                  <a:lnTo>
                    <a:pt x="42" y="260"/>
                  </a:lnTo>
                  <a:lnTo>
                    <a:pt x="50" y="255"/>
                  </a:lnTo>
                  <a:lnTo>
                    <a:pt x="47" y="240"/>
                  </a:lnTo>
                  <a:lnTo>
                    <a:pt x="49" y="224"/>
                  </a:lnTo>
                  <a:lnTo>
                    <a:pt x="56" y="217"/>
                  </a:lnTo>
                  <a:lnTo>
                    <a:pt x="62" y="208"/>
                  </a:lnTo>
                  <a:lnTo>
                    <a:pt x="61" y="199"/>
                  </a:lnTo>
                  <a:lnTo>
                    <a:pt x="59" y="189"/>
                  </a:lnTo>
                  <a:lnTo>
                    <a:pt x="59" y="180"/>
                  </a:lnTo>
                  <a:lnTo>
                    <a:pt x="55" y="168"/>
                  </a:lnTo>
                  <a:lnTo>
                    <a:pt x="55" y="164"/>
                  </a:lnTo>
                  <a:lnTo>
                    <a:pt x="49" y="156"/>
                  </a:lnTo>
                  <a:lnTo>
                    <a:pt x="62" y="116"/>
                  </a:lnTo>
                  <a:lnTo>
                    <a:pt x="63" y="94"/>
                  </a:lnTo>
                  <a:lnTo>
                    <a:pt x="51" y="55"/>
                  </a:lnTo>
                  <a:lnTo>
                    <a:pt x="60" y="49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5" name="Delta"/>
            <p:cNvSpPr>
              <a:spLocks/>
            </p:cNvSpPr>
            <p:nvPr/>
          </p:nvSpPr>
          <p:spPr bwMode="auto">
            <a:xfrm>
              <a:off x="-8507760" y="5383093"/>
              <a:ext cx="853737" cy="734031"/>
            </a:xfrm>
            <a:custGeom>
              <a:avLst/>
              <a:gdLst>
                <a:gd name="T0" fmla="*/ 147 w 528"/>
                <a:gd name="T1" fmla="*/ 419 h 454"/>
                <a:gd name="T2" fmla="*/ 132 w 528"/>
                <a:gd name="T3" fmla="*/ 413 h 454"/>
                <a:gd name="T4" fmla="*/ 108 w 528"/>
                <a:gd name="T5" fmla="*/ 413 h 454"/>
                <a:gd name="T6" fmla="*/ 109 w 528"/>
                <a:gd name="T7" fmla="*/ 353 h 454"/>
                <a:gd name="T8" fmla="*/ 141 w 528"/>
                <a:gd name="T9" fmla="*/ 357 h 454"/>
                <a:gd name="T10" fmla="*/ 167 w 528"/>
                <a:gd name="T11" fmla="*/ 345 h 454"/>
                <a:gd name="T12" fmla="*/ 159 w 528"/>
                <a:gd name="T13" fmla="*/ 329 h 454"/>
                <a:gd name="T14" fmla="*/ 179 w 528"/>
                <a:gd name="T15" fmla="*/ 311 h 454"/>
                <a:gd name="T16" fmla="*/ 178 w 528"/>
                <a:gd name="T17" fmla="*/ 307 h 454"/>
                <a:gd name="T18" fmla="*/ 153 w 528"/>
                <a:gd name="T19" fmla="*/ 312 h 454"/>
                <a:gd name="T20" fmla="*/ 133 w 528"/>
                <a:gd name="T21" fmla="*/ 337 h 454"/>
                <a:gd name="T22" fmla="*/ 125 w 528"/>
                <a:gd name="T23" fmla="*/ 336 h 454"/>
                <a:gd name="T24" fmla="*/ 75 w 528"/>
                <a:gd name="T25" fmla="*/ 325 h 454"/>
                <a:gd name="T26" fmla="*/ 56 w 528"/>
                <a:gd name="T27" fmla="*/ 295 h 454"/>
                <a:gd name="T28" fmla="*/ 108 w 528"/>
                <a:gd name="T29" fmla="*/ 290 h 454"/>
                <a:gd name="T30" fmla="*/ 131 w 528"/>
                <a:gd name="T31" fmla="*/ 273 h 454"/>
                <a:gd name="T32" fmla="*/ 146 w 528"/>
                <a:gd name="T33" fmla="*/ 287 h 454"/>
                <a:gd name="T34" fmla="*/ 144 w 528"/>
                <a:gd name="T35" fmla="*/ 271 h 454"/>
                <a:gd name="T36" fmla="*/ 118 w 528"/>
                <a:gd name="T37" fmla="*/ 279 h 454"/>
                <a:gd name="T38" fmla="*/ 94 w 528"/>
                <a:gd name="T39" fmla="*/ 270 h 454"/>
                <a:gd name="T40" fmla="*/ 87 w 528"/>
                <a:gd name="T41" fmla="*/ 272 h 454"/>
                <a:gd name="T42" fmla="*/ 52 w 528"/>
                <a:gd name="T43" fmla="*/ 287 h 454"/>
                <a:gd name="T44" fmla="*/ 30 w 528"/>
                <a:gd name="T45" fmla="*/ 258 h 454"/>
                <a:gd name="T46" fmla="*/ 29 w 528"/>
                <a:gd name="T47" fmla="*/ 223 h 454"/>
                <a:gd name="T48" fmla="*/ 46 w 528"/>
                <a:gd name="T49" fmla="*/ 223 h 454"/>
                <a:gd name="T50" fmla="*/ 80 w 528"/>
                <a:gd name="T51" fmla="*/ 189 h 454"/>
                <a:gd name="T52" fmla="*/ 12 w 528"/>
                <a:gd name="T53" fmla="*/ 230 h 454"/>
                <a:gd name="T54" fmla="*/ 68 w 528"/>
                <a:gd name="T55" fmla="*/ 149 h 454"/>
                <a:gd name="T56" fmla="*/ 95 w 528"/>
                <a:gd name="T57" fmla="*/ 163 h 454"/>
                <a:gd name="T58" fmla="*/ 154 w 528"/>
                <a:gd name="T59" fmla="*/ 166 h 454"/>
                <a:gd name="T60" fmla="*/ 233 w 528"/>
                <a:gd name="T61" fmla="*/ 168 h 454"/>
                <a:gd name="T62" fmla="*/ 262 w 528"/>
                <a:gd name="T63" fmla="*/ 222 h 454"/>
                <a:gd name="T64" fmla="*/ 276 w 528"/>
                <a:gd name="T65" fmla="*/ 238 h 454"/>
                <a:gd name="T66" fmla="*/ 366 w 528"/>
                <a:gd name="T67" fmla="*/ 169 h 454"/>
                <a:gd name="T68" fmla="*/ 326 w 528"/>
                <a:gd name="T69" fmla="*/ 108 h 454"/>
                <a:gd name="T70" fmla="*/ 338 w 528"/>
                <a:gd name="T71" fmla="*/ 57 h 454"/>
                <a:gd name="T72" fmla="*/ 408 w 528"/>
                <a:gd name="T73" fmla="*/ 42 h 454"/>
                <a:gd name="T74" fmla="*/ 503 w 528"/>
                <a:gd name="T75" fmla="*/ 0 h 454"/>
                <a:gd name="T76" fmla="*/ 520 w 528"/>
                <a:gd name="T77" fmla="*/ 91 h 454"/>
                <a:gd name="T78" fmla="*/ 526 w 528"/>
                <a:gd name="T79" fmla="*/ 128 h 454"/>
                <a:gd name="T80" fmla="*/ 510 w 528"/>
                <a:gd name="T81" fmla="*/ 161 h 454"/>
                <a:gd name="T82" fmla="*/ 494 w 528"/>
                <a:gd name="T83" fmla="*/ 206 h 454"/>
                <a:gd name="T84" fmla="*/ 467 w 528"/>
                <a:gd name="T85" fmla="*/ 293 h 454"/>
                <a:gd name="T86" fmla="*/ 454 w 528"/>
                <a:gd name="T87" fmla="*/ 321 h 454"/>
                <a:gd name="T88" fmla="*/ 447 w 528"/>
                <a:gd name="T89" fmla="*/ 343 h 454"/>
                <a:gd name="T90" fmla="*/ 391 w 528"/>
                <a:gd name="T91" fmla="*/ 367 h 454"/>
                <a:gd name="T92" fmla="*/ 381 w 528"/>
                <a:gd name="T93" fmla="*/ 384 h 454"/>
                <a:gd name="T94" fmla="*/ 363 w 528"/>
                <a:gd name="T95" fmla="*/ 403 h 454"/>
                <a:gd name="T96" fmla="*/ 345 w 528"/>
                <a:gd name="T97" fmla="*/ 416 h 454"/>
                <a:gd name="T98" fmla="*/ 319 w 528"/>
                <a:gd name="T99" fmla="*/ 427 h 454"/>
                <a:gd name="T100" fmla="*/ 279 w 528"/>
                <a:gd name="T101" fmla="*/ 416 h 454"/>
                <a:gd name="T102" fmla="*/ 235 w 528"/>
                <a:gd name="T103" fmla="*/ 439 h 454"/>
                <a:gd name="T104" fmla="*/ 191 w 528"/>
                <a:gd name="T105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8" h="454">
                  <a:moveTo>
                    <a:pt x="156" y="435"/>
                  </a:moveTo>
                  <a:lnTo>
                    <a:pt x="145" y="428"/>
                  </a:lnTo>
                  <a:lnTo>
                    <a:pt x="137" y="421"/>
                  </a:lnTo>
                  <a:lnTo>
                    <a:pt x="135" y="417"/>
                  </a:lnTo>
                  <a:lnTo>
                    <a:pt x="141" y="418"/>
                  </a:lnTo>
                  <a:lnTo>
                    <a:pt x="147" y="419"/>
                  </a:lnTo>
                  <a:lnTo>
                    <a:pt x="145" y="416"/>
                  </a:lnTo>
                  <a:lnTo>
                    <a:pt x="137" y="406"/>
                  </a:lnTo>
                  <a:lnTo>
                    <a:pt x="134" y="404"/>
                  </a:lnTo>
                  <a:lnTo>
                    <a:pt x="133" y="405"/>
                  </a:lnTo>
                  <a:lnTo>
                    <a:pt x="133" y="412"/>
                  </a:lnTo>
                  <a:lnTo>
                    <a:pt x="132" y="413"/>
                  </a:lnTo>
                  <a:lnTo>
                    <a:pt x="129" y="413"/>
                  </a:lnTo>
                  <a:lnTo>
                    <a:pt x="127" y="413"/>
                  </a:lnTo>
                  <a:lnTo>
                    <a:pt x="123" y="415"/>
                  </a:lnTo>
                  <a:lnTo>
                    <a:pt x="119" y="413"/>
                  </a:lnTo>
                  <a:lnTo>
                    <a:pt x="111" y="415"/>
                  </a:lnTo>
                  <a:lnTo>
                    <a:pt x="108" y="413"/>
                  </a:lnTo>
                  <a:lnTo>
                    <a:pt x="107" y="411"/>
                  </a:lnTo>
                  <a:lnTo>
                    <a:pt x="108" y="399"/>
                  </a:lnTo>
                  <a:lnTo>
                    <a:pt x="107" y="385"/>
                  </a:lnTo>
                  <a:lnTo>
                    <a:pt x="100" y="358"/>
                  </a:lnTo>
                  <a:lnTo>
                    <a:pt x="102" y="354"/>
                  </a:lnTo>
                  <a:lnTo>
                    <a:pt x="109" y="353"/>
                  </a:lnTo>
                  <a:lnTo>
                    <a:pt x="129" y="352"/>
                  </a:lnTo>
                  <a:lnTo>
                    <a:pt x="135" y="351"/>
                  </a:lnTo>
                  <a:lnTo>
                    <a:pt x="136" y="353"/>
                  </a:lnTo>
                  <a:lnTo>
                    <a:pt x="137" y="355"/>
                  </a:lnTo>
                  <a:lnTo>
                    <a:pt x="139" y="359"/>
                  </a:lnTo>
                  <a:lnTo>
                    <a:pt x="141" y="357"/>
                  </a:lnTo>
                  <a:lnTo>
                    <a:pt x="143" y="353"/>
                  </a:lnTo>
                  <a:lnTo>
                    <a:pt x="145" y="351"/>
                  </a:lnTo>
                  <a:lnTo>
                    <a:pt x="147" y="349"/>
                  </a:lnTo>
                  <a:lnTo>
                    <a:pt x="158" y="345"/>
                  </a:lnTo>
                  <a:lnTo>
                    <a:pt x="163" y="345"/>
                  </a:lnTo>
                  <a:lnTo>
                    <a:pt x="167" y="345"/>
                  </a:lnTo>
                  <a:lnTo>
                    <a:pt x="170" y="347"/>
                  </a:lnTo>
                  <a:lnTo>
                    <a:pt x="172" y="347"/>
                  </a:lnTo>
                  <a:lnTo>
                    <a:pt x="170" y="343"/>
                  </a:lnTo>
                  <a:lnTo>
                    <a:pt x="163" y="337"/>
                  </a:lnTo>
                  <a:lnTo>
                    <a:pt x="160" y="333"/>
                  </a:lnTo>
                  <a:lnTo>
                    <a:pt x="159" y="329"/>
                  </a:lnTo>
                  <a:lnTo>
                    <a:pt x="159" y="323"/>
                  </a:lnTo>
                  <a:lnTo>
                    <a:pt x="159" y="318"/>
                  </a:lnTo>
                  <a:lnTo>
                    <a:pt x="161" y="314"/>
                  </a:lnTo>
                  <a:lnTo>
                    <a:pt x="165" y="312"/>
                  </a:lnTo>
                  <a:lnTo>
                    <a:pt x="170" y="311"/>
                  </a:lnTo>
                  <a:lnTo>
                    <a:pt x="179" y="311"/>
                  </a:lnTo>
                  <a:lnTo>
                    <a:pt x="183" y="310"/>
                  </a:lnTo>
                  <a:lnTo>
                    <a:pt x="186" y="306"/>
                  </a:lnTo>
                  <a:lnTo>
                    <a:pt x="190" y="299"/>
                  </a:lnTo>
                  <a:lnTo>
                    <a:pt x="186" y="301"/>
                  </a:lnTo>
                  <a:lnTo>
                    <a:pt x="182" y="305"/>
                  </a:lnTo>
                  <a:lnTo>
                    <a:pt x="178" y="307"/>
                  </a:lnTo>
                  <a:lnTo>
                    <a:pt x="172" y="305"/>
                  </a:lnTo>
                  <a:lnTo>
                    <a:pt x="172" y="307"/>
                  </a:lnTo>
                  <a:lnTo>
                    <a:pt x="170" y="308"/>
                  </a:lnTo>
                  <a:lnTo>
                    <a:pt x="168" y="310"/>
                  </a:lnTo>
                  <a:lnTo>
                    <a:pt x="162" y="308"/>
                  </a:lnTo>
                  <a:lnTo>
                    <a:pt x="153" y="312"/>
                  </a:lnTo>
                  <a:lnTo>
                    <a:pt x="149" y="318"/>
                  </a:lnTo>
                  <a:lnTo>
                    <a:pt x="151" y="327"/>
                  </a:lnTo>
                  <a:lnTo>
                    <a:pt x="148" y="334"/>
                  </a:lnTo>
                  <a:lnTo>
                    <a:pt x="144" y="338"/>
                  </a:lnTo>
                  <a:lnTo>
                    <a:pt x="139" y="339"/>
                  </a:lnTo>
                  <a:lnTo>
                    <a:pt x="133" y="337"/>
                  </a:lnTo>
                  <a:lnTo>
                    <a:pt x="131" y="335"/>
                  </a:lnTo>
                  <a:lnTo>
                    <a:pt x="131" y="333"/>
                  </a:lnTo>
                  <a:lnTo>
                    <a:pt x="129" y="331"/>
                  </a:lnTo>
                  <a:lnTo>
                    <a:pt x="126" y="331"/>
                  </a:lnTo>
                  <a:lnTo>
                    <a:pt x="125" y="333"/>
                  </a:lnTo>
                  <a:lnTo>
                    <a:pt x="125" y="336"/>
                  </a:lnTo>
                  <a:lnTo>
                    <a:pt x="127" y="340"/>
                  </a:lnTo>
                  <a:lnTo>
                    <a:pt x="129" y="343"/>
                  </a:lnTo>
                  <a:lnTo>
                    <a:pt x="111" y="342"/>
                  </a:lnTo>
                  <a:lnTo>
                    <a:pt x="78" y="331"/>
                  </a:lnTo>
                  <a:lnTo>
                    <a:pt x="76" y="329"/>
                  </a:lnTo>
                  <a:lnTo>
                    <a:pt x="75" y="325"/>
                  </a:lnTo>
                  <a:lnTo>
                    <a:pt x="74" y="323"/>
                  </a:lnTo>
                  <a:lnTo>
                    <a:pt x="64" y="315"/>
                  </a:lnTo>
                  <a:lnTo>
                    <a:pt x="58" y="311"/>
                  </a:lnTo>
                  <a:lnTo>
                    <a:pt x="55" y="304"/>
                  </a:lnTo>
                  <a:lnTo>
                    <a:pt x="55" y="298"/>
                  </a:lnTo>
                  <a:lnTo>
                    <a:pt x="56" y="295"/>
                  </a:lnTo>
                  <a:lnTo>
                    <a:pt x="58" y="294"/>
                  </a:lnTo>
                  <a:lnTo>
                    <a:pt x="63" y="289"/>
                  </a:lnTo>
                  <a:lnTo>
                    <a:pt x="65" y="287"/>
                  </a:lnTo>
                  <a:lnTo>
                    <a:pt x="67" y="287"/>
                  </a:lnTo>
                  <a:lnTo>
                    <a:pt x="97" y="288"/>
                  </a:lnTo>
                  <a:lnTo>
                    <a:pt x="108" y="290"/>
                  </a:lnTo>
                  <a:lnTo>
                    <a:pt x="114" y="293"/>
                  </a:lnTo>
                  <a:lnTo>
                    <a:pt x="117" y="293"/>
                  </a:lnTo>
                  <a:lnTo>
                    <a:pt x="120" y="289"/>
                  </a:lnTo>
                  <a:lnTo>
                    <a:pt x="125" y="278"/>
                  </a:lnTo>
                  <a:lnTo>
                    <a:pt x="127" y="274"/>
                  </a:lnTo>
                  <a:lnTo>
                    <a:pt x="131" y="273"/>
                  </a:lnTo>
                  <a:lnTo>
                    <a:pt x="135" y="273"/>
                  </a:lnTo>
                  <a:lnTo>
                    <a:pt x="140" y="274"/>
                  </a:lnTo>
                  <a:lnTo>
                    <a:pt x="143" y="276"/>
                  </a:lnTo>
                  <a:lnTo>
                    <a:pt x="144" y="278"/>
                  </a:lnTo>
                  <a:lnTo>
                    <a:pt x="145" y="286"/>
                  </a:lnTo>
                  <a:lnTo>
                    <a:pt x="146" y="287"/>
                  </a:lnTo>
                  <a:lnTo>
                    <a:pt x="149" y="287"/>
                  </a:lnTo>
                  <a:lnTo>
                    <a:pt x="151" y="286"/>
                  </a:lnTo>
                  <a:lnTo>
                    <a:pt x="151" y="283"/>
                  </a:lnTo>
                  <a:lnTo>
                    <a:pt x="151" y="280"/>
                  </a:lnTo>
                  <a:lnTo>
                    <a:pt x="149" y="276"/>
                  </a:lnTo>
                  <a:lnTo>
                    <a:pt x="144" y="271"/>
                  </a:lnTo>
                  <a:lnTo>
                    <a:pt x="138" y="267"/>
                  </a:lnTo>
                  <a:lnTo>
                    <a:pt x="133" y="264"/>
                  </a:lnTo>
                  <a:lnTo>
                    <a:pt x="127" y="264"/>
                  </a:lnTo>
                  <a:lnTo>
                    <a:pt x="125" y="267"/>
                  </a:lnTo>
                  <a:lnTo>
                    <a:pt x="121" y="276"/>
                  </a:lnTo>
                  <a:lnTo>
                    <a:pt x="118" y="279"/>
                  </a:lnTo>
                  <a:lnTo>
                    <a:pt x="112" y="281"/>
                  </a:lnTo>
                  <a:lnTo>
                    <a:pt x="107" y="283"/>
                  </a:lnTo>
                  <a:lnTo>
                    <a:pt x="102" y="282"/>
                  </a:lnTo>
                  <a:lnTo>
                    <a:pt x="96" y="279"/>
                  </a:lnTo>
                  <a:lnTo>
                    <a:pt x="94" y="275"/>
                  </a:lnTo>
                  <a:lnTo>
                    <a:pt x="94" y="270"/>
                  </a:lnTo>
                  <a:lnTo>
                    <a:pt x="100" y="254"/>
                  </a:lnTo>
                  <a:lnTo>
                    <a:pt x="100" y="250"/>
                  </a:lnTo>
                  <a:lnTo>
                    <a:pt x="100" y="244"/>
                  </a:lnTo>
                  <a:lnTo>
                    <a:pt x="98" y="244"/>
                  </a:lnTo>
                  <a:lnTo>
                    <a:pt x="90" y="266"/>
                  </a:lnTo>
                  <a:lnTo>
                    <a:pt x="87" y="272"/>
                  </a:lnTo>
                  <a:lnTo>
                    <a:pt x="83" y="276"/>
                  </a:lnTo>
                  <a:lnTo>
                    <a:pt x="78" y="278"/>
                  </a:lnTo>
                  <a:lnTo>
                    <a:pt x="70" y="278"/>
                  </a:lnTo>
                  <a:lnTo>
                    <a:pt x="67" y="279"/>
                  </a:lnTo>
                  <a:lnTo>
                    <a:pt x="60" y="283"/>
                  </a:lnTo>
                  <a:lnTo>
                    <a:pt x="52" y="287"/>
                  </a:lnTo>
                  <a:lnTo>
                    <a:pt x="51" y="286"/>
                  </a:lnTo>
                  <a:lnTo>
                    <a:pt x="47" y="282"/>
                  </a:lnTo>
                  <a:lnTo>
                    <a:pt x="42" y="278"/>
                  </a:lnTo>
                  <a:lnTo>
                    <a:pt x="37" y="273"/>
                  </a:lnTo>
                  <a:lnTo>
                    <a:pt x="34" y="267"/>
                  </a:lnTo>
                  <a:lnTo>
                    <a:pt x="30" y="258"/>
                  </a:lnTo>
                  <a:lnTo>
                    <a:pt x="27" y="254"/>
                  </a:lnTo>
                  <a:lnTo>
                    <a:pt x="25" y="249"/>
                  </a:lnTo>
                  <a:lnTo>
                    <a:pt x="24" y="241"/>
                  </a:lnTo>
                  <a:lnTo>
                    <a:pt x="24" y="235"/>
                  </a:lnTo>
                  <a:lnTo>
                    <a:pt x="26" y="228"/>
                  </a:lnTo>
                  <a:lnTo>
                    <a:pt x="29" y="223"/>
                  </a:lnTo>
                  <a:lnTo>
                    <a:pt x="33" y="221"/>
                  </a:lnTo>
                  <a:lnTo>
                    <a:pt x="37" y="222"/>
                  </a:lnTo>
                  <a:lnTo>
                    <a:pt x="43" y="226"/>
                  </a:lnTo>
                  <a:lnTo>
                    <a:pt x="45" y="227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5" y="220"/>
                  </a:lnTo>
                  <a:lnTo>
                    <a:pt x="45" y="217"/>
                  </a:lnTo>
                  <a:lnTo>
                    <a:pt x="54" y="209"/>
                  </a:lnTo>
                  <a:lnTo>
                    <a:pt x="79" y="199"/>
                  </a:lnTo>
                  <a:lnTo>
                    <a:pt x="86" y="188"/>
                  </a:lnTo>
                  <a:lnTo>
                    <a:pt x="80" y="189"/>
                  </a:lnTo>
                  <a:lnTo>
                    <a:pt x="69" y="198"/>
                  </a:lnTo>
                  <a:lnTo>
                    <a:pt x="57" y="202"/>
                  </a:lnTo>
                  <a:lnTo>
                    <a:pt x="35" y="214"/>
                  </a:lnTo>
                  <a:lnTo>
                    <a:pt x="30" y="217"/>
                  </a:lnTo>
                  <a:lnTo>
                    <a:pt x="15" y="231"/>
                  </a:lnTo>
                  <a:lnTo>
                    <a:pt x="12" y="230"/>
                  </a:lnTo>
                  <a:lnTo>
                    <a:pt x="1" y="206"/>
                  </a:lnTo>
                  <a:lnTo>
                    <a:pt x="0" y="205"/>
                  </a:lnTo>
                  <a:lnTo>
                    <a:pt x="0" y="204"/>
                  </a:lnTo>
                  <a:lnTo>
                    <a:pt x="33" y="123"/>
                  </a:lnTo>
                  <a:lnTo>
                    <a:pt x="54" y="133"/>
                  </a:lnTo>
                  <a:lnTo>
                    <a:pt x="68" y="149"/>
                  </a:lnTo>
                  <a:lnTo>
                    <a:pt x="65" y="169"/>
                  </a:lnTo>
                  <a:lnTo>
                    <a:pt x="67" y="185"/>
                  </a:lnTo>
                  <a:lnTo>
                    <a:pt x="74" y="189"/>
                  </a:lnTo>
                  <a:lnTo>
                    <a:pt x="80" y="187"/>
                  </a:lnTo>
                  <a:lnTo>
                    <a:pt x="96" y="172"/>
                  </a:lnTo>
                  <a:lnTo>
                    <a:pt x="95" y="163"/>
                  </a:lnTo>
                  <a:lnTo>
                    <a:pt x="98" y="154"/>
                  </a:lnTo>
                  <a:lnTo>
                    <a:pt x="118" y="156"/>
                  </a:lnTo>
                  <a:lnTo>
                    <a:pt x="127" y="154"/>
                  </a:lnTo>
                  <a:lnTo>
                    <a:pt x="138" y="155"/>
                  </a:lnTo>
                  <a:lnTo>
                    <a:pt x="149" y="164"/>
                  </a:lnTo>
                  <a:lnTo>
                    <a:pt x="154" y="166"/>
                  </a:lnTo>
                  <a:lnTo>
                    <a:pt x="158" y="167"/>
                  </a:lnTo>
                  <a:lnTo>
                    <a:pt x="161" y="164"/>
                  </a:lnTo>
                  <a:lnTo>
                    <a:pt x="163" y="160"/>
                  </a:lnTo>
                  <a:lnTo>
                    <a:pt x="179" y="149"/>
                  </a:lnTo>
                  <a:lnTo>
                    <a:pt x="197" y="148"/>
                  </a:lnTo>
                  <a:lnTo>
                    <a:pt x="233" y="168"/>
                  </a:lnTo>
                  <a:lnTo>
                    <a:pt x="250" y="185"/>
                  </a:lnTo>
                  <a:lnTo>
                    <a:pt x="260" y="191"/>
                  </a:lnTo>
                  <a:lnTo>
                    <a:pt x="268" y="197"/>
                  </a:lnTo>
                  <a:lnTo>
                    <a:pt x="266" y="209"/>
                  </a:lnTo>
                  <a:lnTo>
                    <a:pt x="260" y="219"/>
                  </a:lnTo>
                  <a:lnTo>
                    <a:pt x="262" y="222"/>
                  </a:lnTo>
                  <a:lnTo>
                    <a:pt x="265" y="225"/>
                  </a:lnTo>
                  <a:lnTo>
                    <a:pt x="266" y="229"/>
                  </a:lnTo>
                  <a:lnTo>
                    <a:pt x="265" y="232"/>
                  </a:lnTo>
                  <a:lnTo>
                    <a:pt x="266" y="237"/>
                  </a:lnTo>
                  <a:lnTo>
                    <a:pt x="270" y="238"/>
                  </a:lnTo>
                  <a:lnTo>
                    <a:pt x="276" y="238"/>
                  </a:lnTo>
                  <a:lnTo>
                    <a:pt x="305" y="232"/>
                  </a:lnTo>
                  <a:lnTo>
                    <a:pt x="321" y="221"/>
                  </a:lnTo>
                  <a:lnTo>
                    <a:pt x="334" y="207"/>
                  </a:lnTo>
                  <a:lnTo>
                    <a:pt x="350" y="194"/>
                  </a:lnTo>
                  <a:lnTo>
                    <a:pt x="362" y="180"/>
                  </a:lnTo>
                  <a:lnTo>
                    <a:pt x="366" y="169"/>
                  </a:lnTo>
                  <a:lnTo>
                    <a:pt x="366" y="156"/>
                  </a:lnTo>
                  <a:lnTo>
                    <a:pt x="362" y="153"/>
                  </a:lnTo>
                  <a:lnTo>
                    <a:pt x="356" y="152"/>
                  </a:lnTo>
                  <a:lnTo>
                    <a:pt x="338" y="136"/>
                  </a:lnTo>
                  <a:lnTo>
                    <a:pt x="330" y="121"/>
                  </a:lnTo>
                  <a:lnTo>
                    <a:pt x="326" y="108"/>
                  </a:lnTo>
                  <a:lnTo>
                    <a:pt x="324" y="98"/>
                  </a:lnTo>
                  <a:lnTo>
                    <a:pt x="315" y="82"/>
                  </a:lnTo>
                  <a:lnTo>
                    <a:pt x="316" y="70"/>
                  </a:lnTo>
                  <a:lnTo>
                    <a:pt x="320" y="62"/>
                  </a:lnTo>
                  <a:lnTo>
                    <a:pt x="328" y="56"/>
                  </a:lnTo>
                  <a:lnTo>
                    <a:pt x="338" y="57"/>
                  </a:lnTo>
                  <a:lnTo>
                    <a:pt x="345" y="64"/>
                  </a:lnTo>
                  <a:lnTo>
                    <a:pt x="351" y="74"/>
                  </a:lnTo>
                  <a:lnTo>
                    <a:pt x="359" y="74"/>
                  </a:lnTo>
                  <a:lnTo>
                    <a:pt x="373" y="59"/>
                  </a:lnTo>
                  <a:lnTo>
                    <a:pt x="380" y="54"/>
                  </a:lnTo>
                  <a:lnTo>
                    <a:pt x="408" y="42"/>
                  </a:lnTo>
                  <a:lnTo>
                    <a:pt x="445" y="20"/>
                  </a:lnTo>
                  <a:lnTo>
                    <a:pt x="463" y="13"/>
                  </a:lnTo>
                  <a:lnTo>
                    <a:pt x="474" y="12"/>
                  </a:lnTo>
                  <a:lnTo>
                    <a:pt x="484" y="14"/>
                  </a:lnTo>
                  <a:lnTo>
                    <a:pt x="494" y="11"/>
                  </a:lnTo>
                  <a:lnTo>
                    <a:pt x="503" y="0"/>
                  </a:lnTo>
                  <a:lnTo>
                    <a:pt x="503" y="9"/>
                  </a:lnTo>
                  <a:lnTo>
                    <a:pt x="504" y="18"/>
                  </a:lnTo>
                  <a:lnTo>
                    <a:pt x="512" y="48"/>
                  </a:lnTo>
                  <a:lnTo>
                    <a:pt x="514" y="64"/>
                  </a:lnTo>
                  <a:lnTo>
                    <a:pt x="519" y="79"/>
                  </a:lnTo>
                  <a:lnTo>
                    <a:pt x="520" y="91"/>
                  </a:lnTo>
                  <a:lnTo>
                    <a:pt x="522" y="95"/>
                  </a:lnTo>
                  <a:lnTo>
                    <a:pt x="526" y="102"/>
                  </a:lnTo>
                  <a:lnTo>
                    <a:pt x="527" y="106"/>
                  </a:lnTo>
                  <a:lnTo>
                    <a:pt x="528" y="110"/>
                  </a:lnTo>
                  <a:lnTo>
                    <a:pt x="526" y="124"/>
                  </a:lnTo>
                  <a:lnTo>
                    <a:pt x="526" y="128"/>
                  </a:lnTo>
                  <a:lnTo>
                    <a:pt x="523" y="130"/>
                  </a:lnTo>
                  <a:lnTo>
                    <a:pt x="520" y="132"/>
                  </a:lnTo>
                  <a:lnTo>
                    <a:pt x="516" y="133"/>
                  </a:lnTo>
                  <a:lnTo>
                    <a:pt x="511" y="138"/>
                  </a:lnTo>
                  <a:lnTo>
                    <a:pt x="510" y="145"/>
                  </a:lnTo>
                  <a:lnTo>
                    <a:pt x="510" y="161"/>
                  </a:lnTo>
                  <a:lnTo>
                    <a:pt x="507" y="176"/>
                  </a:lnTo>
                  <a:lnTo>
                    <a:pt x="506" y="179"/>
                  </a:lnTo>
                  <a:lnTo>
                    <a:pt x="507" y="184"/>
                  </a:lnTo>
                  <a:lnTo>
                    <a:pt x="506" y="187"/>
                  </a:lnTo>
                  <a:lnTo>
                    <a:pt x="505" y="189"/>
                  </a:lnTo>
                  <a:lnTo>
                    <a:pt x="494" y="206"/>
                  </a:lnTo>
                  <a:lnTo>
                    <a:pt x="487" y="216"/>
                  </a:lnTo>
                  <a:lnTo>
                    <a:pt x="484" y="223"/>
                  </a:lnTo>
                  <a:lnTo>
                    <a:pt x="482" y="231"/>
                  </a:lnTo>
                  <a:lnTo>
                    <a:pt x="481" y="245"/>
                  </a:lnTo>
                  <a:lnTo>
                    <a:pt x="473" y="279"/>
                  </a:lnTo>
                  <a:lnTo>
                    <a:pt x="467" y="293"/>
                  </a:lnTo>
                  <a:lnTo>
                    <a:pt x="467" y="299"/>
                  </a:lnTo>
                  <a:lnTo>
                    <a:pt x="465" y="307"/>
                  </a:lnTo>
                  <a:lnTo>
                    <a:pt x="464" y="311"/>
                  </a:lnTo>
                  <a:lnTo>
                    <a:pt x="461" y="314"/>
                  </a:lnTo>
                  <a:lnTo>
                    <a:pt x="456" y="320"/>
                  </a:lnTo>
                  <a:lnTo>
                    <a:pt x="454" y="321"/>
                  </a:lnTo>
                  <a:lnTo>
                    <a:pt x="448" y="323"/>
                  </a:lnTo>
                  <a:lnTo>
                    <a:pt x="446" y="325"/>
                  </a:lnTo>
                  <a:lnTo>
                    <a:pt x="443" y="329"/>
                  </a:lnTo>
                  <a:lnTo>
                    <a:pt x="442" y="330"/>
                  </a:lnTo>
                  <a:lnTo>
                    <a:pt x="442" y="331"/>
                  </a:lnTo>
                  <a:lnTo>
                    <a:pt x="447" y="343"/>
                  </a:lnTo>
                  <a:lnTo>
                    <a:pt x="448" y="350"/>
                  </a:lnTo>
                  <a:lnTo>
                    <a:pt x="443" y="353"/>
                  </a:lnTo>
                  <a:lnTo>
                    <a:pt x="404" y="358"/>
                  </a:lnTo>
                  <a:lnTo>
                    <a:pt x="399" y="360"/>
                  </a:lnTo>
                  <a:lnTo>
                    <a:pt x="393" y="364"/>
                  </a:lnTo>
                  <a:lnTo>
                    <a:pt x="391" y="367"/>
                  </a:lnTo>
                  <a:lnTo>
                    <a:pt x="389" y="370"/>
                  </a:lnTo>
                  <a:lnTo>
                    <a:pt x="387" y="373"/>
                  </a:lnTo>
                  <a:lnTo>
                    <a:pt x="387" y="377"/>
                  </a:lnTo>
                  <a:lnTo>
                    <a:pt x="387" y="381"/>
                  </a:lnTo>
                  <a:lnTo>
                    <a:pt x="386" y="382"/>
                  </a:lnTo>
                  <a:lnTo>
                    <a:pt x="381" y="384"/>
                  </a:lnTo>
                  <a:lnTo>
                    <a:pt x="368" y="384"/>
                  </a:lnTo>
                  <a:lnTo>
                    <a:pt x="362" y="386"/>
                  </a:lnTo>
                  <a:lnTo>
                    <a:pt x="359" y="393"/>
                  </a:lnTo>
                  <a:lnTo>
                    <a:pt x="360" y="396"/>
                  </a:lnTo>
                  <a:lnTo>
                    <a:pt x="363" y="400"/>
                  </a:lnTo>
                  <a:lnTo>
                    <a:pt x="363" y="403"/>
                  </a:lnTo>
                  <a:lnTo>
                    <a:pt x="362" y="406"/>
                  </a:lnTo>
                  <a:lnTo>
                    <a:pt x="358" y="408"/>
                  </a:lnTo>
                  <a:lnTo>
                    <a:pt x="351" y="411"/>
                  </a:lnTo>
                  <a:lnTo>
                    <a:pt x="349" y="413"/>
                  </a:lnTo>
                  <a:lnTo>
                    <a:pt x="347" y="415"/>
                  </a:lnTo>
                  <a:lnTo>
                    <a:pt x="345" y="416"/>
                  </a:lnTo>
                  <a:lnTo>
                    <a:pt x="341" y="417"/>
                  </a:lnTo>
                  <a:lnTo>
                    <a:pt x="338" y="417"/>
                  </a:lnTo>
                  <a:lnTo>
                    <a:pt x="334" y="415"/>
                  </a:lnTo>
                  <a:lnTo>
                    <a:pt x="331" y="415"/>
                  </a:lnTo>
                  <a:lnTo>
                    <a:pt x="328" y="416"/>
                  </a:lnTo>
                  <a:lnTo>
                    <a:pt x="319" y="427"/>
                  </a:lnTo>
                  <a:lnTo>
                    <a:pt x="314" y="430"/>
                  </a:lnTo>
                  <a:lnTo>
                    <a:pt x="306" y="429"/>
                  </a:lnTo>
                  <a:lnTo>
                    <a:pt x="300" y="427"/>
                  </a:lnTo>
                  <a:lnTo>
                    <a:pt x="294" y="423"/>
                  </a:lnTo>
                  <a:lnTo>
                    <a:pt x="284" y="414"/>
                  </a:lnTo>
                  <a:lnTo>
                    <a:pt x="279" y="416"/>
                  </a:lnTo>
                  <a:lnTo>
                    <a:pt x="269" y="429"/>
                  </a:lnTo>
                  <a:lnTo>
                    <a:pt x="261" y="434"/>
                  </a:lnTo>
                  <a:lnTo>
                    <a:pt x="252" y="435"/>
                  </a:lnTo>
                  <a:lnTo>
                    <a:pt x="247" y="434"/>
                  </a:lnTo>
                  <a:lnTo>
                    <a:pt x="240" y="436"/>
                  </a:lnTo>
                  <a:lnTo>
                    <a:pt x="235" y="439"/>
                  </a:lnTo>
                  <a:lnTo>
                    <a:pt x="229" y="440"/>
                  </a:lnTo>
                  <a:lnTo>
                    <a:pt x="219" y="447"/>
                  </a:lnTo>
                  <a:lnTo>
                    <a:pt x="209" y="454"/>
                  </a:lnTo>
                  <a:lnTo>
                    <a:pt x="204" y="454"/>
                  </a:lnTo>
                  <a:lnTo>
                    <a:pt x="198" y="454"/>
                  </a:lnTo>
                  <a:lnTo>
                    <a:pt x="191" y="454"/>
                  </a:lnTo>
                  <a:lnTo>
                    <a:pt x="185" y="448"/>
                  </a:lnTo>
                  <a:lnTo>
                    <a:pt x="170" y="440"/>
                  </a:lnTo>
                  <a:lnTo>
                    <a:pt x="156" y="435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6" name="Cross River"/>
            <p:cNvSpPr>
              <a:spLocks/>
            </p:cNvSpPr>
            <p:nvPr/>
          </p:nvSpPr>
          <p:spPr bwMode="auto">
            <a:xfrm>
              <a:off x="-7115586" y="5208478"/>
              <a:ext cx="787444" cy="1065479"/>
            </a:xfrm>
            <a:custGeom>
              <a:avLst/>
              <a:gdLst>
                <a:gd name="T0" fmla="*/ 485 w 487"/>
                <a:gd name="T1" fmla="*/ 144 h 659"/>
                <a:gd name="T2" fmla="*/ 454 w 487"/>
                <a:gd name="T3" fmla="*/ 172 h 659"/>
                <a:gd name="T4" fmla="*/ 439 w 487"/>
                <a:gd name="T5" fmla="*/ 179 h 659"/>
                <a:gd name="T6" fmla="*/ 354 w 487"/>
                <a:gd name="T7" fmla="*/ 270 h 659"/>
                <a:gd name="T8" fmla="*/ 336 w 487"/>
                <a:gd name="T9" fmla="*/ 288 h 659"/>
                <a:gd name="T10" fmla="*/ 323 w 487"/>
                <a:gd name="T11" fmla="*/ 298 h 659"/>
                <a:gd name="T12" fmla="*/ 296 w 487"/>
                <a:gd name="T13" fmla="*/ 315 h 659"/>
                <a:gd name="T14" fmla="*/ 300 w 487"/>
                <a:gd name="T15" fmla="*/ 336 h 659"/>
                <a:gd name="T16" fmla="*/ 286 w 487"/>
                <a:gd name="T17" fmla="*/ 358 h 659"/>
                <a:gd name="T18" fmla="*/ 308 w 487"/>
                <a:gd name="T19" fmla="*/ 382 h 659"/>
                <a:gd name="T20" fmla="*/ 299 w 487"/>
                <a:gd name="T21" fmla="*/ 409 h 659"/>
                <a:gd name="T22" fmla="*/ 294 w 487"/>
                <a:gd name="T23" fmla="*/ 433 h 659"/>
                <a:gd name="T24" fmla="*/ 284 w 487"/>
                <a:gd name="T25" fmla="*/ 466 h 659"/>
                <a:gd name="T26" fmla="*/ 280 w 487"/>
                <a:gd name="T27" fmla="*/ 522 h 659"/>
                <a:gd name="T28" fmla="*/ 268 w 487"/>
                <a:gd name="T29" fmla="*/ 529 h 659"/>
                <a:gd name="T30" fmla="*/ 252 w 487"/>
                <a:gd name="T31" fmla="*/ 558 h 659"/>
                <a:gd name="T32" fmla="*/ 231 w 487"/>
                <a:gd name="T33" fmla="*/ 594 h 659"/>
                <a:gd name="T34" fmla="*/ 223 w 487"/>
                <a:gd name="T35" fmla="*/ 616 h 659"/>
                <a:gd name="T36" fmla="*/ 215 w 487"/>
                <a:gd name="T37" fmla="*/ 622 h 659"/>
                <a:gd name="T38" fmla="*/ 203 w 487"/>
                <a:gd name="T39" fmla="*/ 631 h 659"/>
                <a:gd name="T40" fmla="*/ 200 w 487"/>
                <a:gd name="T41" fmla="*/ 646 h 659"/>
                <a:gd name="T42" fmla="*/ 195 w 487"/>
                <a:gd name="T43" fmla="*/ 659 h 659"/>
                <a:gd name="T44" fmla="*/ 183 w 487"/>
                <a:gd name="T45" fmla="*/ 657 h 659"/>
                <a:gd name="T46" fmla="*/ 185 w 487"/>
                <a:gd name="T47" fmla="*/ 649 h 659"/>
                <a:gd name="T48" fmla="*/ 175 w 487"/>
                <a:gd name="T49" fmla="*/ 648 h 659"/>
                <a:gd name="T50" fmla="*/ 165 w 487"/>
                <a:gd name="T51" fmla="*/ 626 h 659"/>
                <a:gd name="T52" fmla="*/ 156 w 487"/>
                <a:gd name="T53" fmla="*/ 631 h 659"/>
                <a:gd name="T54" fmla="*/ 142 w 487"/>
                <a:gd name="T55" fmla="*/ 619 h 659"/>
                <a:gd name="T56" fmla="*/ 132 w 487"/>
                <a:gd name="T57" fmla="*/ 608 h 659"/>
                <a:gd name="T58" fmla="*/ 115 w 487"/>
                <a:gd name="T59" fmla="*/ 592 h 659"/>
                <a:gd name="T60" fmla="*/ 102 w 487"/>
                <a:gd name="T61" fmla="*/ 581 h 659"/>
                <a:gd name="T62" fmla="*/ 92 w 487"/>
                <a:gd name="T63" fmla="*/ 572 h 659"/>
                <a:gd name="T64" fmla="*/ 120 w 487"/>
                <a:gd name="T65" fmla="*/ 609 h 659"/>
                <a:gd name="T66" fmla="*/ 122 w 487"/>
                <a:gd name="T67" fmla="*/ 628 h 659"/>
                <a:gd name="T68" fmla="*/ 126 w 487"/>
                <a:gd name="T69" fmla="*/ 634 h 659"/>
                <a:gd name="T70" fmla="*/ 61 w 487"/>
                <a:gd name="T71" fmla="*/ 558 h 659"/>
                <a:gd name="T72" fmla="*/ 40 w 487"/>
                <a:gd name="T73" fmla="*/ 492 h 659"/>
                <a:gd name="T74" fmla="*/ 5 w 487"/>
                <a:gd name="T75" fmla="*/ 482 h 659"/>
                <a:gd name="T76" fmla="*/ 27 w 487"/>
                <a:gd name="T77" fmla="*/ 452 h 659"/>
                <a:gd name="T78" fmla="*/ 2 w 487"/>
                <a:gd name="T79" fmla="*/ 362 h 659"/>
                <a:gd name="T80" fmla="*/ 16 w 487"/>
                <a:gd name="T81" fmla="*/ 336 h 659"/>
                <a:gd name="T82" fmla="*/ 30 w 487"/>
                <a:gd name="T83" fmla="*/ 301 h 659"/>
                <a:gd name="T84" fmla="*/ 44 w 487"/>
                <a:gd name="T85" fmla="*/ 268 h 659"/>
                <a:gd name="T86" fmla="*/ 74 w 487"/>
                <a:gd name="T87" fmla="*/ 279 h 659"/>
                <a:gd name="T88" fmla="*/ 105 w 487"/>
                <a:gd name="T89" fmla="*/ 259 h 659"/>
                <a:gd name="T90" fmla="*/ 130 w 487"/>
                <a:gd name="T91" fmla="*/ 223 h 659"/>
                <a:gd name="T92" fmla="*/ 151 w 487"/>
                <a:gd name="T93" fmla="*/ 168 h 659"/>
                <a:gd name="T94" fmla="*/ 164 w 487"/>
                <a:gd name="T95" fmla="*/ 131 h 659"/>
                <a:gd name="T96" fmla="*/ 153 w 487"/>
                <a:gd name="T97" fmla="*/ 104 h 659"/>
                <a:gd name="T98" fmla="*/ 131 w 487"/>
                <a:gd name="T99" fmla="*/ 82 h 659"/>
                <a:gd name="T100" fmla="*/ 154 w 487"/>
                <a:gd name="T101" fmla="*/ 51 h 659"/>
                <a:gd name="T102" fmla="*/ 200 w 487"/>
                <a:gd name="T103" fmla="*/ 46 h 659"/>
                <a:gd name="T104" fmla="*/ 226 w 487"/>
                <a:gd name="T105" fmla="*/ 18 h 659"/>
                <a:gd name="T106" fmla="*/ 291 w 487"/>
                <a:gd name="T107" fmla="*/ 10 h 659"/>
                <a:gd name="T108" fmla="*/ 337 w 487"/>
                <a:gd name="T109" fmla="*/ 70 h 659"/>
                <a:gd name="T110" fmla="*/ 437 w 487"/>
                <a:gd name="T111" fmla="*/ 76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7" h="659">
                  <a:moveTo>
                    <a:pt x="473" y="118"/>
                  </a:moveTo>
                  <a:lnTo>
                    <a:pt x="481" y="133"/>
                  </a:lnTo>
                  <a:lnTo>
                    <a:pt x="487" y="144"/>
                  </a:lnTo>
                  <a:lnTo>
                    <a:pt x="485" y="144"/>
                  </a:lnTo>
                  <a:lnTo>
                    <a:pt x="477" y="150"/>
                  </a:lnTo>
                  <a:lnTo>
                    <a:pt x="467" y="167"/>
                  </a:lnTo>
                  <a:lnTo>
                    <a:pt x="458" y="172"/>
                  </a:lnTo>
                  <a:lnTo>
                    <a:pt x="454" y="172"/>
                  </a:lnTo>
                  <a:lnTo>
                    <a:pt x="450" y="172"/>
                  </a:lnTo>
                  <a:lnTo>
                    <a:pt x="447" y="172"/>
                  </a:lnTo>
                  <a:lnTo>
                    <a:pt x="443" y="174"/>
                  </a:lnTo>
                  <a:lnTo>
                    <a:pt x="439" y="179"/>
                  </a:lnTo>
                  <a:lnTo>
                    <a:pt x="429" y="197"/>
                  </a:lnTo>
                  <a:lnTo>
                    <a:pt x="422" y="208"/>
                  </a:lnTo>
                  <a:lnTo>
                    <a:pt x="380" y="241"/>
                  </a:lnTo>
                  <a:lnTo>
                    <a:pt x="354" y="270"/>
                  </a:lnTo>
                  <a:lnTo>
                    <a:pt x="347" y="279"/>
                  </a:lnTo>
                  <a:lnTo>
                    <a:pt x="343" y="283"/>
                  </a:lnTo>
                  <a:lnTo>
                    <a:pt x="338" y="286"/>
                  </a:lnTo>
                  <a:lnTo>
                    <a:pt x="336" y="288"/>
                  </a:lnTo>
                  <a:lnTo>
                    <a:pt x="335" y="296"/>
                  </a:lnTo>
                  <a:lnTo>
                    <a:pt x="335" y="300"/>
                  </a:lnTo>
                  <a:lnTo>
                    <a:pt x="329" y="301"/>
                  </a:lnTo>
                  <a:lnTo>
                    <a:pt x="323" y="298"/>
                  </a:lnTo>
                  <a:lnTo>
                    <a:pt x="317" y="297"/>
                  </a:lnTo>
                  <a:lnTo>
                    <a:pt x="312" y="302"/>
                  </a:lnTo>
                  <a:lnTo>
                    <a:pt x="308" y="307"/>
                  </a:lnTo>
                  <a:lnTo>
                    <a:pt x="296" y="315"/>
                  </a:lnTo>
                  <a:lnTo>
                    <a:pt x="293" y="320"/>
                  </a:lnTo>
                  <a:lnTo>
                    <a:pt x="294" y="326"/>
                  </a:lnTo>
                  <a:lnTo>
                    <a:pt x="297" y="330"/>
                  </a:lnTo>
                  <a:lnTo>
                    <a:pt x="300" y="336"/>
                  </a:lnTo>
                  <a:lnTo>
                    <a:pt x="298" y="343"/>
                  </a:lnTo>
                  <a:lnTo>
                    <a:pt x="293" y="349"/>
                  </a:lnTo>
                  <a:lnTo>
                    <a:pt x="288" y="354"/>
                  </a:lnTo>
                  <a:lnTo>
                    <a:pt x="286" y="358"/>
                  </a:lnTo>
                  <a:lnTo>
                    <a:pt x="289" y="366"/>
                  </a:lnTo>
                  <a:lnTo>
                    <a:pt x="295" y="371"/>
                  </a:lnTo>
                  <a:lnTo>
                    <a:pt x="302" y="377"/>
                  </a:lnTo>
                  <a:lnTo>
                    <a:pt x="308" y="382"/>
                  </a:lnTo>
                  <a:lnTo>
                    <a:pt x="311" y="390"/>
                  </a:lnTo>
                  <a:lnTo>
                    <a:pt x="310" y="398"/>
                  </a:lnTo>
                  <a:lnTo>
                    <a:pt x="306" y="404"/>
                  </a:lnTo>
                  <a:lnTo>
                    <a:pt x="299" y="409"/>
                  </a:lnTo>
                  <a:lnTo>
                    <a:pt x="295" y="415"/>
                  </a:lnTo>
                  <a:lnTo>
                    <a:pt x="293" y="421"/>
                  </a:lnTo>
                  <a:lnTo>
                    <a:pt x="293" y="427"/>
                  </a:lnTo>
                  <a:lnTo>
                    <a:pt x="294" y="433"/>
                  </a:lnTo>
                  <a:lnTo>
                    <a:pt x="294" y="440"/>
                  </a:lnTo>
                  <a:lnTo>
                    <a:pt x="292" y="447"/>
                  </a:lnTo>
                  <a:lnTo>
                    <a:pt x="286" y="459"/>
                  </a:lnTo>
                  <a:lnTo>
                    <a:pt x="284" y="466"/>
                  </a:lnTo>
                  <a:lnTo>
                    <a:pt x="285" y="470"/>
                  </a:lnTo>
                  <a:lnTo>
                    <a:pt x="287" y="478"/>
                  </a:lnTo>
                  <a:lnTo>
                    <a:pt x="288" y="481"/>
                  </a:lnTo>
                  <a:lnTo>
                    <a:pt x="280" y="522"/>
                  </a:lnTo>
                  <a:lnTo>
                    <a:pt x="278" y="526"/>
                  </a:lnTo>
                  <a:lnTo>
                    <a:pt x="274" y="527"/>
                  </a:lnTo>
                  <a:lnTo>
                    <a:pt x="271" y="528"/>
                  </a:lnTo>
                  <a:lnTo>
                    <a:pt x="268" y="529"/>
                  </a:lnTo>
                  <a:lnTo>
                    <a:pt x="265" y="532"/>
                  </a:lnTo>
                  <a:lnTo>
                    <a:pt x="258" y="541"/>
                  </a:lnTo>
                  <a:lnTo>
                    <a:pt x="256" y="545"/>
                  </a:lnTo>
                  <a:lnTo>
                    <a:pt x="252" y="558"/>
                  </a:lnTo>
                  <a:lnTo>
                    <a:pt x="249" y="564"/>
                  </a:lnTo>
                  <a:lnTo>
                    <a:pt x="245" y="571"/>
                  </a:lnTo>
                  <a:lnTo>
                    <a:pt x="233" y="589"/>
                  </a:lnTo>
                  <a:lnTo>
                    <a:pt x="231" y="594"/>
                  </a:lnTo>
                  <a:lnTo>
                    <a:pt x="223" y="600"/>
                  </a:lnTo>
                  <a:lnTo>
                    <a:pt x="221" y="606"/>
                  </a:lnTo>
                  <a:lnTo>
                    <a:pt x="222" y="612"/>
                  </a:lnTo>
                  <a:lnTo>
                    <a:pt x="223" y="616"/>
                  </a:lnTo>
                  <a:lnTo>
                    <a:pt x="224" y="620"/>
                  </a:lnTo>
                  <a:lnTo>
                    <a:pt x="218" y="625"/>
                  </a:lnTo>
                  <a:lnTo>
                    <a:pt x="217" y="624"/>
                  </a:lnTo>
                  <a:lnTo>
                    <a:pt x="215" y="622"/>
                  </a:lnTo>
                  <a:lnTo>
                    <a:pt x="212" y="622"/>
                  </a:lnTo>
                  <a:lnTo>
                    <a:pt x="210" y="623"/>
                  </a:lnTo>
                  <a:lnTo>
                    <a:pt x="207" y="625"/>
                  </a:lnTo>
                  <a:lnTo>
                    <a:pt x="203" y="631"/>
                  </a:lnTo>
                  <a:lnTo>
                    <a:pt x="203" y="633"/>
                  </a:lnTo>
                  <a:lnTo>
                    <a:pt x="200" y="639"/>
                  </a:lnTo>
                  <a:lnTo>
                    <a:pt x="199" y="642"/>
                  </a:lnTo>
                  <a:lnTo>
                    <a:pt x="200" y="646"/>
                  </a:lnTo>
                  <a:lnTo>
                    <a:pt x="202" y="650"/>
                  </a:lnTo>
                  <a:lnTo>
                    <a:pt x="201" y="653"/>
                  </a:lnTo>
                  <a:lnTo>
                    <a:pt x="199" y="657"/>
                  </a:lnTo>
                  <a:lnTo>
                    <a:pt x="195" y="659"/>
                  </a:lnTo>
                  <a:lnTo>
                    <a:pt x="192" y="658"/>
                  </a:lnTo>
                  <a:lnTo>
                    <a:pt x="187" y="657"/>
                  </a:lnTo>
                  <a:lnTo>
                    <a:pt x="186" y="657"/>
                  </a:lnTo>
                  <a:lnTo>
                    <a:pt x="183" y="657"/>
                  </a:lnTo>
                  <a:lnTo>
                    <a:pt x="181" y="656"/>
                  </a:lnTo>
                  <a:lnTo>
                    <a:pt x="182" y="654"/>
                  </a:lnTo>
                  <a:lnTo>
                    <a:pt x="184" y="652"/>
                  </a:lnTo>
                  <a:lnTo>
                    <a:pt x="185" y="649"/>
                  </a:lnTo>
                  <a:lnTo>
                    <a:pt x="186" y="646"/>
                  </a:lnTo>
                  <a:lnTo>
                    <a:pt x="184" y="643"/>
                  </a:lnTo>
                  <a:lnTo>
                    <a:pt x="182" y="645"/>
                  </a:lnTo>
                  <a:lnTo>
                    <a:pt x="175" y="648"/>
                  </a:lnTo>
                  <a:lnTo>
                    <a:pt x="171" y="649"/>
                  </a:lnTo>
                  <a:lnTo>
                    <a:pt x="162" y="646"/>
                  </a:lnTo>
                  <a:lnTo>
                    <a:pt x="162" y="636"/>
                  </a:lnTo>
                  <a:lnTo>
                    <a:pt x="165" y="62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2" y="626"/>
                  </a:lnTo>
                  <a:lnTo>
                    <a:pt x="156" y="631"/>
                  </a:lnTo>
                  <a:lnTo>
                    <a:pt x="147" y="630"/>
                  </a:lnTo>
                  <a:lnTo>
                    <a:pt x="140" y="623"/>
                  </a:lnTo>
                  <a:lnTo>
                    <a:pt x="141" y="622"/>
                  </a:lnTo>
                  <a:lnTo>
                    <a:pt x="142" y="619"/>
                  </a:lnTo>
                  <a:lnTo>
                    <a:pt x="140" y="619"/>
                  </a:lnTo>
                  <a:lnTo>
                    <a:pt x="133" y="616"/>
                  </a:lnTo>
                  <a:lnTo>
                    <a:pt x="134" y="612"/>
                  </a:lnTo>
                  <a:lnTo>
                    <a:pt x="132" y="608"/>
                  </a:lnTo>
                  <a:lnTo>
                    <a:pt x="124" y="603"/>
                  </a:lnTo>
                  <a:lnTo>
                    <a:pt x="117" y="598"/>
                  </a:lnTo>
                  <a:lnTo>
                    <a:pt x="116" y="597"/>
                  </a:lnTo>
                  <a:lnTo>
                    <a:pt x="115" y="592"/>
                  </a:lnTo>
                  <a:lnTo>
                    <a:pt x="112" y="586"/>
                  </a:lnTo>
                  <a:lnTo>
                    <a:pt x="109" y="584"/>
                  </a:lnTo>
                  <a:lnTo>
                    <a:pt x="106" y="582"/>
                  </a:lnTo>
                  <a:lnTo>
                    <a:pt x="102" y="581"/>
                  </a:lnTo>
                  <a:lnTo>
                    <a:pt x="99" y="578"/>
                  </a:lnTo>
                  <a:lnTo>
                    <a:pt x="96" y="574"/>
                  </a:lnTo>
                  <a:lnTo>
                    <a:pt x="93" y="572"/>
                  </a:lnTo>
                  <a:lnTo>
                    <a:pt x="92" y="572"/>
                  </a:lnTo>
                  <a:lnTo>
                    <a:pt x="92" y="574"/>
                  </a:lnTo>
                  <a:lnTo>
                    <a:pt x="109" y="589"/>
                  </a:lnTo>
                  <a:lnTo>
                    <a:pt x="113" y="594"/>
                  </a:lnTo>
                  <a:lnTo>
                    <a:pt x="120" y="609"/>
                  </a:lnTo>
                  <a:lnTo>
                    <a:pt x="122" y="616"/>
                  </a:lnTo>
                  <a:lnTo>
                    <a:pt x="117" y="619"/>
                  </a:lnTo>
                  <a:lnTo>
                    <a:pt x="119" y="623"/>
                  </a:lnTo>
                  <a:lnTo>
                    <a:pt x="122" y="628"/>
                  </a:lnTo>
                  <a:lnTo>
                    <a:pt x="125" y="632"/>
                  </a:lnTo>
                  <a:lnTo>
                    <a:pt x="128" y="634"/>
                  </a:lnTo>
                  <a:lnTo>
                    <a:pt x="129" y="635"/>
                  </a:lnTo>
                  <a:lnTo>
                    <a:pt x="126" y="634"/>
                  </a:lnTo>
                  <a:lnTo>
                    <a:pt x="114" y="626"/>
                  </a:lnTo>
                  <a:lnTo>
                    <a:pt x="79" y="589"/>
                  </a:lnTo>
                  <a:lnTo>
                    <a:pt x="68" y="574"/>
                  </a:lnTo>
                  <a:lnTo>
                    <a:pt x="61" y="558"/>
                  </a:lnTo>
                  <a:lnTo>
                    <a:pt x="57" y="542"/>
                  </a:lnTo>
                  <a:lnTo>
                    <a:pt x="59" y="505"/>
                  </a:lnTo>
                  <a:lnTo>
                    <a:pt x="54" y="500"/>
                  </a:lnTo>
                  <a:lnTo>
                    <a:pt x="40" y="492"/>
                  </a:lnTo>
                  <a:lnTo>
                    <a:pt x="32" y="490"/>
                  </a:lnTo>
                  <a:lnTo>
                    <a:pt x="15" y="492"/>
                  </a:lnTo>
                  <a:lnTo>
                    <a:pt x="8" y="488"/>
                  </a:lnTo>
                  <a:lnTo>
                    <a:pt x="5" y="482"/>
                  </a:lnTo>
                  <a:lnTo>
                    <a:pt x="0" y="469"/>
                  </a:lnTo>
                  <a:lnTo>
                    <a:pt x="8" y="460"/>
                  </a:lnTo>
                  <a:lnTo>
                    <a:pt x="23" y="462"/>
                  </a:lnTo>
                  <a:lnTo>
                    <a:pt x="27" y="452"/>
                  </a:lnTo>
                  <a:lnTo>
                    <a:pt x="12" y="424"/>
                  </a:lnTo>
                  <a:lnTo>
                    <a:pt x="5" y="392"/>
                  </a:lnTo>
                  <a:lnTo>
                    <a:pt x="7" y="376"/>
                  </a:lnTo>
                  <a:lnTo>
                    <a:pt x="2" y="362"/>
                  </a:lnTo>
                  <a:lnTo>
                    <a:pt x="3" y="355"/>
                  </a:lnTo>
                  <a:lnTo>
                    <a:pt x="6" y="347"/>
                  </a:lnTo>
                  <a:lnTo>
                    <a:pt x="12" y="342"/>
                  </a:lnTo>
                  <a:lnTo>
                    <a:pt x="16" y="336"/>
                  </a:lnTo>
                  <a:lnTo>
                    <a:pt x="15" y="329"/>
                  </a:lnTo>
                  <a:lnTo>
                    <a:pt x="15" y="322"/>
                  </a:lnTo>
                  <a:lnTo>
                    <a:pt x="19" y="318"/>
                  </a:lnTo>
                  <a:lnTo>
                    <a:pt x="30" y="301"/>
                  </a:lnTo>
                  <a:lnTo>
                    <a:pt x="33" y="288"/>
                  </a:lnTo>
                  <a:lnTo>
                    <a:pt x="28" y="279"/>
                  </a:lnTo>
                  <a:lnTo>
                    <a:pt x="32" y="271"/>
                  </a:lnTo>
                  <a:lnTo>
                    <a:pt x="44" y="268"/>
                  </a:lnTo>
                  <a:lnTo>
                    <a:pt x="55" y="271"/>
                  </a:lnTo>
                  <a:lnTo>
                    <a:pt x="61" y="284"/>
                  </a:lnTo>
                  <a:lnTo>
                    <a:pt x="69" y="284"/>
                  </a:lnTo>
                  <a:lnTo>
                    <a:pt x="74" y="279"/>
                  </a:lnTo>
                  <a:lnTo>
                    <a:pt x="88" y="272"/>
                  </a:lnTo>
                  <a:lnTo>
                    <a:pt x="93" y="266"/>
                  </a:lnTo>
                  <a:lnTo>
                    <a:pt x="97" y="259"/>
                  </a:lnTo>
                  <a:lnTo>
                    <a:pt x="105" y="259"/>
                  </a:lnTo>
                  <a:lnTo>
                    <a:pt x="114" y="263"/>
                  </a:lnTo>
                  <a:lnTo>
                    <a:pt x="118" y="255"/>
                  </a:lnTo>
                  <a:lnTo>
                    <a:pt x="124" y="233"/>
                  </a:lnTo>
                  <a:lnTo>
                    <a:pt x="130" y="223"/>
                  </a:lnTo>
                  <a:lnTo>
                    <a:pt x="137" y="215"/>
                  </a:lnTo>
                  <a:lnTo>
                    <a:pt x="154" y="198"/>
                  </a:lnTo>
                  <a:lnTo>
                    <a:pt x="156" y="177"/>
                  </a:lnTo>
                  <a:lnTo>
                    <a:pt x="151" y="168"/>
                  </a:lnTo>
                  <a:lnTo>
                    <a:pt x="153" y="159"/>
                  </a:lnTo>
                  <a:lnTo>
                    <a:pt x="171" y="148"/>
                  </a:lnTo>
                  <a:lnTo>
                    <a:pt x="170" y="138"/>
                  </a:lnTo>
                  <a:lnTo>
                    <a:pt x="164" y="131"/>
                  </a:lnTo>
                  <a:lnTo>
                    <a:pt x="161" y="123"/>
                  </a:lnTo>
                  <a:lnTo>
                    <a:pt x="159" y="113"/>
                  </a:lnTo>
                  <a:lnTo>
                    <a:pt x="155" y="108"/>
                  </a:lnTo>
                  <a:lnTo>
                    <a:pt x="153" y="104"/>
                  </a:lnTo>
                  <a:lnTo>
                    <a:pt x="151" y="101"/>
                  </a:lnTo>
                  <a:lnTo>
                    <a:pt x="147" y="98"/>
                  </a:lnTo>
                  <a:lnTo>
                    <a:pt x="143" y="95"/>
                  </a:lnTo>
                  <a:lnTo>
                    <a:pt x="131" y="82"/>
                  </a:lnTo>
                  <a:lnTo>
                    <a:pt x="127" y="66"/>
                  </a:lnTo>
                  <a:lnTo>
                    <a:pt x="137" y="65"/>
                  </a:lnTo>
                  <a:lnTo>
                    <a:pt x="146" y="60"/>
                  </a:lnTo>
                  <a:lnTo>
                    <a:pt x="154" y="51"/>
                  </a:lnTo>
                  <a:lnTo>
                    <a:pt x="163" y="44"/>
                  </a:lnTo>
                  <a:lnTo>
                    <a:pt x="175" y="45"/>
                  </a:lnTo>
                  <a:lnTo>
                    <a:pt x="187" y="46"/>
                  </a:lnTo>
                  <a:lnTo>
                    <a:pt x="200" y="46"/>
                  </a:lnTo>
                  <a:lnTo>
                    <a:pt x="213" y="43"/>
                  </a:lnTo>
                  <a:lnTo>
                    <a:pt x="223" y="37"/>
                  </a:lnTo>
                  <a:lnTo>
                    <a:pt x="229" y="29"/>
                  </a:lnTo>
                  <a:lnTo>
                    <a:pt x="226" y="18"/>
                  </a:lnTo>
                  <a:lnTo>
                    <a:pt x="229" y="8"/>
                  </a:lnTo>
                  <a:lnTo>
                    <a:pt x="249" y="0"/>
                  </a:lnTo>
                  <a:lnTo>
                    <a:pt x="270" y="2"/>
                  </a:lnTo>
                  <a:lnTo>
                    <a:pt x="291" y="10"/>
                  </a:lnTo>
                  <a:lnTo>
                    <a:pt x="327" y="31"/>
                  </a:lnTo>
                  <a:lnTo>
                    <a:pt x="334" y="47"/>
                  </a:lnTo>
                  <a:lnTo>
                    <a:pt x="331" y="65"/>
                  </a:lnTo>
                  <a:lnTo>
                    <a:pt x="337" y="70"/>
                  </a:lnTo>
                  <a:lnTo>
                    <a:pt x="345" y="72"/>
                  </a:lnTo>
                  <a:lnTo>
                    <a:pt x="363" y="71"/>
                  </a:lnTo>
                  <a:lnTo>
                    <a:pt x="410" y="63"/>
                  </a:lnTo>
                  <a:lnTo>
                    <a:pt x="437" y="76"/>
                  </a:lnTo>
                  <a:lnTo>
                    <a:pt x="473" y="118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grpSp>
          <p:nvGrpSpPr>
            <p:cNvPr id="117" name="Borno"/>
            <p:cNvGrpSpPr/>
            <p:nvPr/>
          </p:nvGrpSpPr>
          <p:grpSpPr>
            <a:xfrm>
              <a:off x="-5283607" y="1892397"/>
              <a:ext cx="1474636" cy="1789810"/>
              <a:chOff x="-5283607" y="1892397"/>
              <a:chExt cx="1474636" cy="1789810"/>
            </a:xfrm>
            <a:grpFill/>
          </p:grpSpPr>
          <p:sp>
            <p:nvSpPr>
              <p:cNvPr id="127" name="Freeform 6"/>
              <p:cNvSpPr>
                <a:spLocks/>
              </p:cNvSpPr>
              <p:nvPr/>
            </p:nvSpPr>
            <p:spPr bwMode="auto">
              <a:xfrm>
                <a:off x="-4446049" y="1892397"/>
                <a:ext cx="397764" cy="619238"/>
              </a:xfrm>
              <a:custGeom>
                <a:avLst/>
                <a:gdLst>
                  <a:gd name="T0" fmla="*/ 0 w 246"/>
                  <a:gd name="T1" fmla="*/ 0 h 383"/>
                  <a:gd name="T2" fmla="*/ 74 w 246"/>
                  <a:gd name="T3" fmla="*/ 3 h 383"/>
                  <a:gd name="T4" fmla="*/ 245 w 246"/>
                  <a:gd name="T5" fmla="*/ 352 h 383"/>
                  <a:gd name="T6" fmla="*/ 246 w 246"/>
                  <a:gd name="T7" fmla="*/ 376 h 383"/>
                  <a:gd name="T8" fmla="*/ 237 w 246"/>
                  <a:gd name="T9" fmla="*/ 377 h 383"/>
                  <a:gd name="T10" fmla="*/ 214 w 246"/>
                  <a:gd name="T11" fmla="*/ 381 h 383"/>
                  <a:gd name="T12" fmla="*/ 205 w 246"/>
                  <a:gd name="T13" fmla="*/ 377 h 383"/>
                  <a:gd name="T14" fmla="*/ 190 w 246"/>
                  <a:gd name="T15" fmla="*/ 376 h 383"/>
                  <a:gd name="T16" fmla="*/ 188 w 246"/>
                  <a:gd name="T17" fmla="*/ 369 h 383"/>
                  <a:gd name="T18" fmla="*/ 180 w 246"/>
                  <a:gd name="T19" fmla="*/ 356 h 383"/>
                  <a:gd name="T20" fmla="*/ 175 w 246"/>
                  <a:gd name="T21" fmla="*/ 350 h 383"/>
                  <a:gd name="T22" fmla="*/ 169 w 246"/>
                  <a:gd name="T23" fmla="*/ 347 h 383"/>
                  <a:gd name="T24" fmla="*/ 161 w 246"/>
                  <a:gd name="T25" fmla="*/ 337 h 383"/>
                  <a:gd name="T26" fmla="*/ 155 w 246"/>
                  <a:gd name="T27" fmla="*/ 340 h 383"/>
                  <a:gd name="T28" fmla="*/ 151 w 246"/>
                  <a:gd name="T29" fmla="*/ 332 h 383"/>
                  <a:gd name="T30" fmla="*/ 144 w 246"/>
                  <a:gd name="T31" fmla="*/ 329 h 383"/>
                  <a:gd name="T32" fmla="*/ 138 w 246"/>
                  <a:gd name="T33" fmla="*/ 317 h 383"/>
                  <a:gd name="T34" fmla="*/ 129 w 246"/>
                  <a:gd name="T35" fmla="*/ 312 h 383"/>
                  <a:gd name="T36" fmla="*/ 135 w 246"/>
                  <a:gd name="T37" fmla="*/ 310 h 383"/>
                  <a:gd name="T38" fmla="*/ 132 w 246"/>
                  <a:gd name="T39" fmla="*/ 308 h 383"/>
                  <a:gd name="T40" fmla="*/ 130 w 246"/>
                  <a:gd name="T41" fmla="*/ 304 h 383"/>
                  <a:gd name="T42" fmla="*/ 134 w 246"/>
                  <a:gd name="T43" fmla="*/ 300 h 383"/>
                  <a:gd name="T44" fmla="*/ 130 w 246"/>
                  <a:gd name="T45" fmla="*/ 297 h 383"/>
                  <a:gd name="T46" fmla="*/ 132 w 246"/>
                  <a:gd name="T47" fmla="*/ 293 h 383"/>
                  <a:gd name="T48" fmla="*/ 129 w 246"/>
                  <a:gd name="T49" fmla="*/ 289 h 383"/>
                  <a:gd name="T50" fmla="*/ 136 w 246"/>
                  <a:gd name="T51" fmla="*/ 286 h 383"/>
                  <a:gd name="T52" fmla="*/ 135 w 246"/>
                  <a:gd name="T53" fmla="*/ 281 h 383"/>
                  <a:gd name="T54" fmla="*/ 136 w 246"/>
                  <a:gd name="T55" fmla="*/ 278 h 383"/>
                  <a:gd name="T56" fmla="*/ 133 w 246"/>
                  <a:gd name="T57" fmla="*/ 273 h 383"/>
                  <a:gd name="T58" fmla="*/ 127 w 246"/>
                  <a:gd name="T59" fmla="*/ 271 h 383"/>
                  <a:gd name="T60" fmla="*/ 135 w 246"/>
                  <a:gd name="T61" fmla="*/ 267 h 383"/>
                  <a:gd name="T62" fmla="*/ 132 w 246"/>
                  <a:gd name="T63" fmla="*/ 262 h 383"/>
                  <a:gd name="T64" fmla="*/ 131 w 246"/>
                  <a:gd name="T65" fmla="*/ 252 h 383"/>
                  <a:gd name="T66" fmla="*/ 131 w 246"/>
                  <a:gd name="T67" fmla="*/ 247 h 383"/>
                  <a:gd name="T68" fmla="*/ 132 w 246"/>
                  <a:gd name="T69" fmla="*/ 234 h 383"/>
                  <a:gd name="T70" fmla="*/ 126 w 246"/>
                  <a:gd name="T71" fmla="*/ 224 h 383"/>
                  <a:gd name="T72" fmla="*/ 138 w 246"/>
                  <a:gd name="T73" fmla="*/ 206 h 383"/>
                  <a:gd name="T74" fmla="*/ 136 w 246"/>
                  <a:gd name="T75" fmla="*/ 198 h 383"/>
                  <a:gd name="T76" fmla="*/ 147 w 246"/>
                  <a:gd name="T77" fmla="*/ 191 h 383"/>
                  <a:gd name="T78" fmla="*/ 152 w 246"/>
                  <a:gd name="T79" fmla="*/ 187 h 383"/>
                  <a:gd name="T80" fmla="*/ 156 w 246"/>
                  <a:gd name="T81" fmla="*/ 190 h 383"/>
                  <a:gd name="T82" fmla="*/ 154 w 246"/>
                  <a:gd name="T83" fmla="*/ 181 h 383"/>
                  <a:gd name="T84" fmla="*/ 151 w 246"/>
                  <a:gd name="T85" fmla="*/ 177 h 383"/>
                  <a:gd name="T86" fmla="*/ 155 w 246"/>
                  <a:gd name="T87" fmla="*/ 172 h 383"/>
                  <a:gd name="T88" fmla="*/ 120 w 246"/>
                  <a:gd name="T89" fmla="*/ 197 h 383"/>
                  <a:gd name="T90" fmla="*/ 106 w 246"/>
                  <a:gd name="T91" fmla="*/ 200 h 383"/>
                  <a:gd name="T92" fmla="*/ 98 w 246"/>
                  <a:gd name="T93" fmla="*/ 187 h 383"/>
                  <a:gd name="T94" fmla="*/ 101 w 246"/>
                  <a:gd name="T95" fmla="*/ 185 h 383"/>
                  <a:gd name="T96" fmla="*/ 104 w 246"/>
                  <a:gd name="T97" fmla="*/ 185 h 383"/>
                  <a:gd name="T98" fmla="*/ 109 w 246"/>
                  <a:gd name="T99" fmla="*/ 178 h 383"/>
                  <a:gd name="T100" fmla="*/ 98 w 246"/>
                  <a:gd name="T101" fmla="*/ 175 h 383"/>
                  <a:gd name="T102" fmla="*/ 70 w 246"/>
                  <a:gd name="T103" fmla="*/ 162 h 383"/>
                  <a:gd name="T104" fmla="*/ 40 w 246"/>
                  <a:gd name="T105" fmla="*/ 125 h 383"/>
                  <a:gd name="T106" fmla="*/ 30 w 246"/>
                  <a:gd name="T107" fmla="*/ 110 h 383"/>
                  <a:gd name="T108" fmla="*/ 12 w 246"/>
                  <a:gd name="T109" fmla="*/ 94 h 383"/>
                  <a:gd name="T110" fmla="*/ 14 w 246"/>
                  <a:gd name="T111" fmla="*/ 78 h 383"/>
                  <a:gd name="T112" fmla="*/ 17 w 246"/>
                  <a:gd name="T113" fmla="*/ 74 h 383"/>
                  <a:gd name="T114" fmla="*/ 3 w 246"/>
                  <a:gd name="T115" fmla="*/ 30 h 383"/>
                  <a:gd name="T116" fmla="*/ 1 w 246"/>
                  <a:gd name="T117" fmla="*/ 9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383">
                    <a:moveTo>
                      <a:pt x="1" y="9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74" y="3"/>
                    </a:lnTo>
                    <a:lnTo>
                      <a:pt x="212" y="192"/>
                    </a:lnTo>
                    <a:lnTo>
                      <a:pt x="245" y="352"/>
                    </a:lnTo>
                    <a:lnTo>
                      <a:pt x="246" y="375"/>
                    </a:lnTo>
                    <a:lnTo>
                      <a:pt x="246" y="376"/>
                    </a:lnTo>
                    <a:lnTo>
                      <a:pt x="246" y="376"/>
                    </a:lnTo>
                    <a:lnTo>
                      <a:pt x="237" y="377"/>
                    </a:lnTo>
                    <a:lnTo>
                      <a:pt x="216" y="383"/>
                    </a:lnTo>
                    <a:lnTo>
                      <a:pt x="214" y="381"/>
                    </a:lnTo>
                    <a:lnTo>
                      <a:pt x="213" y="378"/>
                    </a:lnTo>
                    <a:lnTo>
                      <a:pt x="205" y="377"/>
                    </a:lnTo>
                    <a:lnTo>
                      <a:pt x="198" y="379"/>
                    </a:lnTo>
                    <a:lnTo>
                      <a:pt x="190" y="376"/>
                    </a:lnTo>
                    <a:lnTo>
                      <a:pt x="188" y="373"/>
                    </a:lnTo>
                    <a:lnTo>
                      <a:pt x="188" y="369"/>
                    </a:lnTo>
                    <a:lnTo>
                      <a:pt x="186" y="359"/>
                    </a:lnTo>
                    <a:lnTo>
                      <a:pt x="180" y="356"/>
                    </a:lnTo>
                    <a:lnTo>
                      <a:pt x="176" y="354"/>
                    </a:lnTo>
                    <a:lnTo>
                      <a:pt x="175" y="350"/>
                    </a:lnTo>
                    <a:lnTo>
                      <a:pt x="172" y="349"/>
                    </a:lnTo>
                    <a:lnTo>
                      <a:pt x="169" y="347"/>
                    </a:lnTo>
                    <a:lnTo>
                      <a:pt x="166" y="340"/>
                    </a:lnTo>
                    <a:lnTo>
                      <a:pt x="161" y="337"/>
                    </a:lnTo>
                    <a:lnTo>
                      <a:pt x="159" y="339"/>
                    </a:lnTo>
                    <a:lnTo>
                      <a:pt x="155" y="340"/>
                    </a:lnTo>
                    <a:lnTo>
                      <a:pt x="152" y="337"/>
                    </a:lnTo>
                    <a:lnTo>
                      <a:pt x="151" y="332"/>
                    </a:lnTo>
                    <a:lnTo>
                      <a:pt x="147" y="329"/>
                    </a:lnTo>
                    <a:lnTo>
                      <a:pt x="144" y="329"/>
                    </a:lnTo>
                    <a:lnTo>
                      <a:pt x="143" y="322"/>
                    </a:lnTo>
                    <a:lnTo>
                      <a:pt x="138" y="317"/>
                    </a:lnTo>
                    <a:lnTo>
                      <a:pt x="132" y="315"/>
                    </a:lnTo>
                    <a:lnTo>
                      <a:pt x="129" y="312"/>
                    </a:lnTo>
                    <a:lnTo>
                      <a:pt x="132" y="311"/>
                    </a:lnTo>
                    <a:lnTo>
                      <a:pt x="135" y="310"/>
                    </a:lnTo>
                    <a:lnTo>
                      <a:pt x="135" y="307"/>
                    </a:lnTo>
                    <a:lnTo>
                      <a:pt x="132" y="308"/>
                    </a:lnTo>
                    <a:lnTo>
                      <a:pt x="130" y="307"/>
                    </a:lnTo>
                    <a:lnTo>
                      <a:pt x="130" y="304"/>
                    </a:lnTo>
                    <a:lnTo>
                      <a:pt x="134" y="302"/>
                    </a:lnTo>
                    <a:lnTo>
                      <a:pt x="134" y="300"/>
                    </a:lnTo>
                    <a:lnTo>
                      <a:pt x="131" y="299"/>
                    </a:lnTo>
                    <a:lnTo>
                      <a:pt x="130" y="297"/>
                    </a:lnTo>
                    <a:lnTo>
                      <a:pt x="131" y="295"/>
                    </a:lnTo>
                    <a:lnTo>
                      <a:pt x="132" y="293"/>
                    </a:lnTo>
                    <a:lnTo>
                      <a:pt x="130" y="292"/>
                    </a:lnTo>
                    <a:lnTo>
                      <a:pt x="129" y="289"/>
                    </a:lnTo>
                    <a:lnTo>
                      <a:pt x="131" y="287"/>
                    </a:lnTo>
                    <a:lnTo>
                      <a:pt x="136" y="286"/>
                    </a:lnTo>
                    <a:lnTo>
                      <a:pt x="131" y="283"/>
                    </a:lnTo>
                    <a:lnTo>
                      <a:pt x="135" y="281"/>
                    </a:lnTo>
                    <a:lnTo>
                      <a:pt x="138" y="280"/>
                    </a:lnTo>
                    <a:lnTo>
                      <a:pt x="136" y="278"/>
                    </a:lnTo>
                    <a:lnTo>
                      <a:pt x="134" y="277"/>
                    </a:lnTo>
                    <a:lnTo>
                      <a:pt x="133" y="273"/>
                    </a:lnTo>
                    <a:lnTo>
                      <a:pt x="129" y="271"/>
                    </a:lnTo>
                    <a:lnTo>
                      <a:pt x="127" y="271"/>
                    </a:lnTo>
                    <a:lnTo>
                      <a:pt x="127" y="270"/>
                    </a:lnTo>
                    <a:lnTo>
                      <a:pt x="135" y="267"/>
                    </a:lnTo>
                    <a:lnTo>
                      <a:pt x="137" y="264"/>
                    </a:lnTo>
                    <a:lnTo>
                      <a:pt x="132" y="262"/>
                    </a:lnTo>
                    <a:lnTo>
                      <a:pt x="129" y="258"/>
                    </a:lnTo>
                    <a:lnTo>
                      <a:pt x="131" y="252"/>
                    </a:lnTo>
                    <a:lnTo>
                      <a:pt x="133" y="247"/>
                    </a:lnTo>
                    <a:lnTo>
                      <a:pt x="131" y="247"/>
                    </a:lnTo>
                    <a:lnTo>
                      <a:pt x="132" y="239"/>
                    </a:lnTo>
                    <a:lnTo>
                      <a:pt x="132" y="234"/>
                    </a:lnTo>
                    <a:lnTo>
                      <a:pt x="126" y="231"/>
                    </a:lnTo>
                    <a:lnTo>
                      <a:pt x="126" y="224"/>
                    </a:lnTo>
                    <a:lnTo>
                      <a:pt x="135" y="209"/>
                    </a:lnTo>
                    <a:lnTo>
                      <a:pt x="138" y="206"/>
                    </a:lnTo>
                    <a:lnTo>
                      <a:pt x="137" y="202"/>
                    </a:lnTo>
                    <a:lnTo>
                      <a:pt x="136" y="198"/>
                    </a:lnTo>
                    <a:lnTo>
                      <a:pt x="139" y="195"/>
                    </a:lnTo>
                    <a:lnTo>
                      <a:pt x="147" y="191"/>
                    </a:lnTo>
                    <a:lnTo>
                      <a:pt x="150" y="187"/>
                    </a:lnTo>
                    <a:lnTo>
                      <a:pt x="152" y="187"/>
                    </a:lnTo>
                    <a:lnTo>
                      <a:pt x="154" y="191"/>
                    </a:lnTo>
                    <a:lnTo>
                      <a:pt x="156" y="190"/>
                    </a:lnTo>
                    <a:lnTo>
                      <a:pt x="156" y="187"/>
                    </a:lnTo>
                    <a:lnTo>
                      <a:pt x="154" y="181"/>
                    </a:lnTo>
                    <a:lnTo>
                      <a:pt x="151" y="181"/>
                    </a:lnTo>
                    <a:lnTo>
                      <a:pt x="151" y="177"/>
                    </a:lnTo>
                    <a:lnTo>
                      <a:pt x="154" y="174"/>
                    </a:lnTo>
                    <a:lnTo>
                      <a:pt x="155" y="172"/>
                    </a:lnTo>
                    <a:lnTo>
                      <a:pt x="145" y="174"/>
                    </a:lnTo>
                    <a:lnTo>
                      <a:pt x="120" y="197"/>
                    </a:lnTo>
                    <a:lnTo>
                      <a:pt x="111" y="199"/>
                    </a:lnTo>
                    <a:lnTo>
                      <a:pt x="106" y="200"/>
                    </a:lnTo>
                    <a:lnTo>
                      <a:pt x="102" y="189"/>
                    </a:lnTo>
                    <a:lnTo>
                      <a:pt x="98" y="187"/>
                    </a:lnTo>
                    <a:lnTo>
                      <a:pt x="99" y="185"/>
                    </a:lnTo>
                    <a:lnTo>
                      <a:pt x="101" y="185"/>
                    </a:lnTo>
                    <a:lnTo>
                      <a:pt x="102" y="184"/>
                    </a:lnTo>
                    <a:lnTo>
                      <a:pt x="104" y="185"/>
                    </a:lnTo>
                    <a:lnTo>
                      <a:pt x="108" y="184"/>
                    </a:lnTo>
                    <a:lnTo>
                      <a:pt x="109" y="178"/>
                    </a:lnTo>
                    <a:lnTo>
                      <a:pt x="106" y="176"/>
                    </a:lnTo>
                    <a:lnTo>
                      <a:pt x="98" y="175"/>
                    </a:lnTo>
                    <a:lnTo>
                      <a:pt x="90" y="173"/>
                    </a:lnTo>
                    <a:lnTo>
                      <a:pt x="70" y="162"/>
                    </a:lnTo>
                    <a:lnTo>
                      <a:pt x="59" y="151"/>
                    </a:lnTo>
                    <a:lnTo>
                      <a:pt x="40" y="125"/>
                    </a:lnTo>
                    <a:lnTo>
                      <a:pt x="33" y="113"/>
                    </a:lnTo>
                    <a:lnTo>
                      <a:pt x="30" y="110"/>
                    </a:lnTo>
                    <a:lnTo>
                      <a:pt x="29" y="108"/>
                    </a:lnTo>
                    <a:lnTo>
                      <a:pt x="12" y="94"/>
                    </a:lnTo>
                    <a:lnTo>
                      <a:pt x="8" y="84"/>
                    </a:lnTo>
                    <a:lnTo>
                      <a:pt x="14" y="78"/>
                    </a:lnTo>
                    <a:lnTo>
                      <a:pt x="14" y="83"/>
                    </a:lnTo>
                    <a:lnTo>
                      <a:pt x="17" y="74"/>
                    </a:lnTo>
                    <a:lnTo>
                      <a:pt x="0" y="40"/>
                    </a:lnTo>
                    <a:lnTo>
                      <a:pt x="3" y="30"/>
                    </a:lnTo>
                    <a:lnTo>
                      <a:pt x="2" y="19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0" tIns="0" rIns="0" bIns="0" rtlCol="0" anchor="ctr" anchorCtr="0"/>
              <a:lstStyle/>
              <a:p>
                <a:pPr algn="ctr" defTabSz="685800" hangingPunct="0"/>
                <a:endParaRPr lang="en-US" sz="1350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Candara"/>
                  <a:sym typeface="Helvetica"/>
                </a:endParaRPr>
              </a:p>
            </p:txBody>
          </p:sp>
          <p:sp>
            <p:nvSpPr>
              <p:cNvPr id="128" name="Borno"/>
              <p:cNvSpPr>
                <a:spLocks/>
              </p:cNvSpPr>
              <p:nvPr/>
            </p:nvSpPr>
            <p:spPr bwMode="auto">
              <a:xfrm>
                <a:off x="-5283607" y="1892398"/>
                <a:ext cx="1474636" cy="1789809"/>
              </a:xfrm>
              <a:custGeom>
                <a:avLst/>
                <a:gdLst>
                  <a:gd name="T0" fmla="*/ 897 w 912"/>
                  <a:gd name="T1" fmla="*/ 500 h 1107"/>
                  <a:gd name="T2" fmla="*/ 898 w 912"/>
                  <a:gd name="T3" fmla="*/ 541 h 1107"/>
                  <a:gd name="T4" fmla="*/ 876 w 912"/>
                  <a:gd name="T5" fmla="*/ 609 h 1107"/>
                  <a:gd name="T6" fmla="*/ 898 w 912"/>
                  <a:gd name="T7" fmla="*/ 627 h 1107"/>
                  <a:gd name="T8" fmla="*/ 884 w 912"/>
                  <a:gd name="T9" fmla="*/ 670 h 1107"/>
                  <a:gd name="T10" fmla="*/ 794 w 912"/>
                  <a:gd name="T11" fmla="*/ 726 h 1107"/>
                  <a:gd name="T12" fmla="*/ 753 w 912"/>
                  <a:gd name="T13" fmla="*/ 746 h 1107"/>
                  <a:gd name="T14" fmla="*/ 672 w 912"/>
                  <a:gd name="T15" fmla="*/ 767 h 1107"/>
                  <a:gd name="T16" fmla="*/ 635 w 912"/>
                  <a:gd name="T17" fmla="*/ 818 h 1107"/>
                  <a:gd name="T18" fmla="*/ 551 w 912"/>
                  <a:gd name="T19" fmla="*/ 836 h 1107"/>
                  <a:gd name="T20" fmla="*/ 503 w 912"/>
                  <a:gd name="T21" fmla="*/ 977 h 1107"/>
                  <a:gd name="T22" fmla="*/ 362 w 912"/>
                  <a:gd name="T23" fmla="*/ 948 h 1107"/>
                  <a:gd name="T24" fmla="*/ 274 w 912"/>
                  <a:gd name="T25" fmla="*/ 1019 h 1107"/>
                  <a:gd name="T26" fmla="*/ 71 w 912"/>
                  <a:gd name="T27" fmla="*/ 1090 h 1107"/>
                  <a:gd name="T28" fmla="*/ 1 w 912"/>
                  <a:gd name="T29" fmla="*/ 1000 h 1107"/>
                  <a:gd name="T30" fmla="*/ 48 w 912"/>
                  <a:gd name="T31" fmla="*/ 883 h 1107"/>
                  <a:gd name="T32" fmla="*/ 168 w 912"/>
                  <a:gd name="T33" fmla="*/ 731 h 1107"/>
                  <a:gd name="T34" fmla="*/ 210 w 912"/>
                  <a:gd name="T35" fmla="*/ 622 h 1107"/>
                  <a:gd name="T36" fmla="*/ 194 w 912"/>
                  <a:gd name="T37" fmla="*/ 527 h 1107"/>
                  <a:gd name="T38" fmla="*/ 237 w 912"/>
                  <a:gd name="T39" fmla="*/ 283 h 1107"/>
                  <a:gd name="T40" fmla="*/ 246 w 912"/>
                  <a:gd name="T41" fmla="*/ 195 h 1107"/>
                  <a:gd name="T42" fmla="*/ 270 w 912"/>
                  <a:gd name="T43" fmla="*/ 171 h 1107"/>
                  <a:gd name="T44" fmla="*/ 278 w 912"/>
                  <a:gd name="T45" fmla="*/ 142 h 1107"/>
                  <a:gd name="T46" fmla="*/ 298 w 912"/>
                  <a:gd name="T47" fmla="*/ 126 h 1107"/>
                  <a:gd name="T48" fmla="*/ 317 w 912"/>
                  <a:gd name="T49" fmla="*/ 121 h 1107"/>
                  <a:gd name="T50" fmla="*/ 343 w 912"/>
                  <a:gd name="T51" fmla="*/ 99 h 1107"/>
                  <a:gd name="T52" fmla="*/ 348 w 912"/>
                  <a:gd name="T53" fmla="*/ 96 h 1107"/>
                  <a:gd name="T54" fmla="*/ 359 w 912"/>
                  <a:gd name="T55" fmla="*/ 91 h 1107"/>
                  <a:gd name="T56" fmla="*/ 365 w 912"/>
                  <a:gd name="T57" fmla="*/ 71 h 1107"/>
                  <a:gd name="T58" fmla="*/ 383 w 912"/>
                  <a:gd name="T59" fmla="*/ 68 h 1107"/>
                  <a:gd name="T60" fmla="*/ 437 w 912"/>
                  <a:gd name="T61" fmla="*/ 56 h 1107"/>
                  <a:gd name="T62" fmla="*/ 456 w 912"/>
                  <a:gd name="T63" fmla="*/ 49 h 1107"/>
                  <a:gd name="T64" fmla="*/ 484 w 912"/>
                  <a:gd name="T65" fmla="*/ 43 h 1107"/>
                  <a:gd name="T66" fmla="*/ 488 w 912"/>
                  <a:gd name="T67" fmla="*/ 34 h 1107"/>
                  <a:gd name="T68" fmla="*/ 506 w 912"/>
                  <a:gd name="T69" fmla="*/ 8 h 1107"/>
                  <a:gd name="T70" fmla="*/ 521 w 912"/>
                  <a:gd name="T71" fmla="*/ 30 h 1107"/>
                  <a:gd name="T72" fmla="*/ 547 w 912"/>
                  <a:gd name="T73" fmla="*/ 108 h 1107"/>
                  <a:gd name="T74" fmla="*/ 616 w 912"/>
                  <a:gd name="T75" fmla="*/ 175 h 1107"/>
                  <a:gd name="T76" fmla="*/ 617 w 912"/>
                  <a:gd name="T77" fmla="*/ 185 h 1107"/>
                  <a:gd name="T78" fmla="*/ 673 w 912"/>
                  <a:gd name="T79" fmla="*/ 172 h 1107"/>
                  <a:gd name="T80" fmla="*/ 672 w 912"/>
                  <a:gd name="T81" fmla="*/ 191 h 1107"/>
                  <a:gd name="T82" fmla="*/ 656 w 912"/>
                  <a:gd name="T83" fmla="*/ 206 h 1107"/>
                  <a:gd name="T84" fmla="*/ 651 w 912"/>
                  <a:gd name="T85" fmla="*/ 247 h 1107"/>
                  <a:gd name="T86" fmla="*/ 645 w 912"/>
                  <a:gd name="T87" fmla="*/ 271 h 1107"/>
                  <a:gd name="T88" fmla="*/ 649 w 912"/>
                  <a:gd name="T89" fmla="*/ 283 h 1107"/>
                  <a:gd name="T90" fmla="*/ 648 w 912"/>
                  <a:gd name="T91" fmla="*/ 297 h 1107"/>
                  <a:gd name="T92" fmla="*/ 653 w 912"/>
                  <a:gd name="T93" fmla="*/ 307 h 1107"/>
                  <a:gd name="T94" fmla="*/ 662 w 912"/>
                  <a:gd name="T95" fmla="*/ 329 h 1107"/>
                  <a:gd name="T96" fmla="*/ 684 w 912"/>
                  <a:gd name="T97" fmla="*/ 340 h 1107"/>
                  <a:gd name="T98" fmla="*/ 706 w 912"/>
                  <a:gd name="T99" fmla="*/ 369 h 1107"/>
                  <a:gd name="T100" fmla="*/ 734 w 912"/>
                  <a:gd name="T101" fmla="*/ 383 h 1107"/>
                  <a:gd name="T102" fmla="*/ 764 w 912"/>
                  <a:gd name="T103" fmla="*/ 400 h 1107"/>
                  <a:gd name="T104" fmla="*/ 866 w 912"/>
                  <a:gd name="T105" fmla="*/ 421 h 1107"/>
                  <a:gd name="T106" fmla="*/ 878 w 912"/>
                  <a:gd name="T107" fmla="*/ 441 h 1107"/>
                  <a:gd name="T108" fmla="*/ 900 w 912"/>
                  <a:gd name="T109" fmla="*/ 460 h 1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2" h="1107">
                    <a:moveTo>
                      <a:pt x="911" y="462"/>
                    </a:moveTo>
                    <a:lnTo>
                      <a:pt x="912" y="465"/>
                    </a:lnTo>
                    <a:lnTo>
                      <a:pt x="906" y="471"/>
                    </a:lnTo>
                    <a:lnTo>
                      <a:pt x="905" y="473"/>
                    </a:lnTo>
                    <a:lnTo>
                      <a:pt x="904" y="475"/>
                    </a:lnTo>
                    <a:lnTo>
                      <a:pt x="902" y="478"/>
                    </a:lnTo>
                    <a:lnTo>
                      <a:pt x="897" y="500"/>
                    </a:lnTo>
                    <a:lnTo>
                      <a:pt x="898" y="503"/>
                    </a:lnTo>
                    <a:lnTo>
                      <a:pt x="892" y="506"/>
                    </a:lnTo>
                    <a:lnTo>
                      <a:pt x="892" y="512"/>
                    </a:lnTo>
                    <a:lnTo>
                      <a:pt x="899" y="525"/>
                    </a:lnTo>
                    <a:lnTo>
                      <a:pt x="899" y="529"/>
                    </a:lnTo>
                    <a:lnTo>
                      <a:pt x="899" y="531"/>
                    </a:lnTo>
                    <a:lnTo>
                      <a:pt x="898" y="541"/>
                    </a:lnTo>
                    <a:lnTo>
                      <a:pt x="895" y="550"/>
                    </a:lnTo>
                    <a:lnTo>
                      <a:pt x="888" y="581"/>
                    </a:lnTo>
                    <a:lnTo>
                      <a:pt x="886" y="586"/>
                    </a:lnTo>
                    <a:lnTo>
                      <a:pt x="875" y="601"/>
                    </a:lnTo>
                    <a:lnTo>
                      <a:pt x="873" y="603"/>
                    </a:lnTo>
                    <a:lnTo>
                      <a:pt x="874" y="606"/>
                    </a:lnTo>
                    <a:lnTo>
                      <a:pt x="876" y="609"/>
                    </a:lnTo>
                    <a:lnTo>
                      <a:pt x="878" y="610"/>
                    </a:lnTo>
                    <a:lnTo>
                      <a:pt x="883" y="610"/>
                    </a:lnTo>
                    <a:lnTo>
                      <a:pt x="885" y="611"/>
                    </a:lnTo>
                    <a:lnTo>
                      <a:pt x="886" y="613"/>
                    </a:lnTo>
                    <a:lnTo>
                      <a:pt x="889" y="617"/>
                    </a:lnTo>
                    <a:lnTo>
                      <a:pt x="895" y="622"/>
                    </a:lnTo>
                    <a:lnTo>
                      <a:pt x="898" y="627"/>
                    </a:lnTo>
                    <a:lnTo>
                      <a:pt x="899" y="633"/>
                    </a:lnTo>
                    <a:lnTo>
                      <a:pt x="899" y="641"/>
                    </a:lnTo>
                    <a:lnTo>
                      <a:pt x="899" y="647"/>
                    </a:lnTo>
                    <a:lnTo>
                      <a:pt x="896" y="654"/>
                    </a:lnTo>
                    <a:lnTo>
                      <a:pt x="892" y="662"/>
                    </a:lnTo>
                    <a:lnTo>
                      <a:pt x="888" y="667"/>
                    </a:lnTo>
                    <a:lnTo>
                      <a:pt x="884" y="670"/>
                    </a:lnTo>
                    <a:lnTo>
                      <a:pt x="868" y="675"/>
                    </a:lnTo>
                    <a:lnTo>
                      <a:pt x="862" y="679"/>
                    </a:lnTo>
                    <a:lnTo>
                      <a:pt x="852" y="689"/>
                    </a:lnTo>
                    <a:lnTo>
                      <a:pt x="844" y="693"/>
                    </a:lnTo>
                    <a:lnTo>
                      <a:pt x="827" y="698"/>
                    </a:lnTo>
                    <a:lnTo>
                      <a:pt x="821" y="701"/>
                    </a:lnTo>
                    <a:lnTo>
                      <a:pt x="794" y="726"/>
                    </a:lnTo>
                    <a:lnTo>
                      <a:pt x="792" y="727"/>
                    </a:lnTo>
                    <a:lnTo>
                      <a:pt x="784" y="728"/>
                    </a:lnTo>
                    <a:lnTo>
                      <a:pt x="780" y="729"/>
                    </a:lnTo>
                    <a:lnTo>
                      <a:pt x="772" y="738"/>
                    </a:lnTo>
                    <a:lnTo>
                      <a:pt x="766" y="742"/>
                    </a:lnTo>
                    <a:lnTo>
                      <a:pt x="760" y="745"/>
                    </a:lnTo>
                    <a:lnTo>
                      <a:pt x="753" y="746"/>
                    </a:lnTo>
                    <a:lnTo>
                      <a:pt x="747" y="745"/>
                    </a:lnTo>
                    <a:lnTo>
                      <a:pt x="727" y="737"/>
                    </a:lnTo>
                    <a:lnTo>
                      <a:pt x="714" y="734"/>
                    </a:lnTo>
                    <a:lnTo>
                      <a:pt x="705" y="734"/>
                    </a:lnTo>
                    <a:lnTo>
                      <a:pt x="694" y="742"/>
                    </a:lnTo>
                    <a:lnTo>
                      <a:pt x="682" y="754"/>
                    </a:lnTo>
                    <a:lnTo>
                      <a:pt x="672" y="767"/>
                    </a:lnTo>
                    <a:lnTo>
                      <a:pt x="665" y="779"/>
                    </a:lnTo>
                    <a:lnTo>
                      <a:pt x="660" y="791"/>
                    </a:lnTo>
                    <a:lnTo>
                      <a:pt x="657" y="795"/>
                    </a:lnTo>
                    <a:lnTo>
                      <a:pt x="645" y="802"/>
                    </a:lnTo>
                    <a:lnTo>
                      <a:pt x="640" y="806"/>
                    </a:lnTo>
                    <a:lnTo>
                      <a:pt x="636" y="812"/>
                    </a:lnTo>
                    <a:lnTo>
                      <a:pt x="635" y="818"/>
                    </a:lnTo>
                    <a:lnTo>
                      <a:pt x="637" y="829"/>
                    </a:lnTo>
                    <a:lnTo>
                      <a:pt x="635" y="834"/>
                    </a:lnTo>
                    <a:lnTo>
                      <a:pt x="618" y="834"/>
                    </a:lnTo>
                    <a:lnTo>
                      <a:pt x="574" y="844"/>
                    </a:lnTo>
                    <a:lnTo>
                      <a:pt x="565" y="842"/>
                    </a:lnTo>
                    <a:lnTo>
                      <a:pt x="554" y="839"/>
                    </a:lnTo>
                    <a:lnTo>
                      <a:pt x="551" y="836"/>
                    </a:lnTo>
                    <a:lnTo>
                      <a:pt x="547" y="836"/>
                    </a:lnTo>
                    <a:lnTo>
                      <a:pt x="537" y="837"/>
                    </a:lnTo>
                    <a:lnTo>
                      <a:pt x="534" y="855"/>
                    </a:lnTo>
                    <a:lnTo>
                      <a:pt x="534" y="875"/>
                    </a:lnTo>
                    <a:lnTo>
                      <a:pt x="530" y="896"/>
                    </a:lnTo>
                    <a:lnTo>
                      <a:pt x="513" y="937"/>
                    </a:lnTo>
                    <a:lnTo>
                      <a:pt x="503" y="977"/>
                    </a:lnTo>
                    <a:lnTo>
                      <a:pt x="488" y="985"/>
                    </a:lnTo>
                    <a:lnTo>
                      <a:pt x="467" y="981"/>
                    </a:lnTo>
                    <a:lnTo>
                      <a:pt x="450" y="969"/>
                    </a:lnTo>
                    <a:lnTo>
                      <a:pt x="434" y="954"/>
                    </a:lnTo>
                    <a:lnTo>
                      <a:pt x="413" y="946"/>
                    </a:lnTo>
                    <a:lnTo>
                      <a:pt x="386" y="943"/>
                    </a:lnTo>
                    <a:lnTo>
                      <a:pt x="362" y="948"/>
                    </a:lnTo>
                    <a:lnTo>
                      <a:pt x="345" y="966"/>
                    </a:lnTo>
                    <a:lnTo>
                      <a:pt x="328" y="983"/>
                    </a:lnTo>
                    <a:lnTo>
                      <a:pt x="317" y="983"/>
                    </a:lnTo>
                    <a:lnTo>
                      <a:pt x="310" y="989"/>
                    </a:lnTo>
                    <a:lnTo>
                      <a:pt x="304" y="999"/>
                    </a:lnTo>
                    <a:lnTo>
                      <a:pt x="296" y="1008"/>
                    </a:lnTo>
                    <a:lnTo>
                      <a:pt x="274" y="1019"/>
                    </a:lnTo>
                    <a:lnTo>
                      <a:pt x="250" y="1021"/>
                    </a:lnTo>
                    <a:lnTo>
                      <a:pt x="228" y="1026"/>
                    </a:lnTo>
                    <a:lnTo>
                      <a:pt x="210" y="1040"/>
                    </a:lnTo>
                    <a:lnTo>
                      <a:pt x="180" y="1080"/>
                    </a:lnTo>
                    <a:lnTo>
                      <a:pt x="142" y="1107"/>
                    </a:lnTo>
                    <a:lnTo>
                      <a:pt x="93" y="1104"/>
                    </a:lnTo>
                    <a:lnTo>
                      <a:pt x="71" y="1090"/>
                    </a:lnTo>
                    <a:lnTo>
                      <a:pt x="51" y="1057"/>
                    </a:lnTo>
                    <a:lnTo>
                      <a:pt x="40" y="1050"/>
                    </a:lnTo>
                    <a:lnTo>
                      <a:pt x="27" y="1045"/>
                    </a:lnTo>
                    <a:lnTo>
                      <a:pt x="16" y="1038"/>
                    </a:lnTo>
                    <a:lnTo>
                      <a:pt x="6" y="1027"/>
                    </a:lnTo>
                    <a:lnTo>
                      <a:pt x="0" y="1013"/>
                    </a:lnTo>
                    <a:lnTo>
                      <a:pt x="1" y="1000"/>
                    </a:lnTo>
                    <a:lnTo>
                      <a:pt x="23" y="964"/>
                    </a:lnTo>
                    <a:lnTo>
                      <a:pt x="20" y="939"/>
                    </a:lnTo>
                    <a:lnTo>
                      <a:pt x="31" y="936"/>
                    </a:lnTo>
                    <a:lnTo>
                      <a:pt x="40" y="928"/>
                    </a:lnTo>
                    <a:lnTo>
                      <a:pt x="47" y="919"/>
                    </a:lnTo>
                    <a:lnTo>
                      <a:pt x="50" y="908"/>
                    </a:lnTo>
                    <a:lnTo>
                      <a:pt x="48" y="883"/>
                    </a:lnTo>
                    <a:lnTo>
                      <a:pt x="52" y="859"/>
                    </a:lnTo>
                    <a:lnTo>
                      <a:pt x="70" y="840"/>
                    </a:lnTo>
                    <a:lnTo>
                      <a:pt x="141" y="816"/>
                    </a:lnTo>
                    <a:lnTo>
                      <a:pt x="159" y="802"/>
                    </a:lnTo>
                    <a:lnTo>
                      <a:pt x="168" y="782"/>
                    </a:lnTo>
                    <a:lnTo>
                      <a:pt x="167" y="756"/>
                    </a:lnTo>
                    <a:lnTo>
                      <a:pt x="168" y="731"/>
                    </a:lnTo>
                    <a:lnTo>
                      <a:pt x="175" y="721"/>
                    </a:lnTo>
                    <a:lnTo>
                      <a:pt x="184" y="712"/>
                    </a:lnTo>
                    <a:lnTo>
                      <a:pt x="196" y="691"/>
                    </a:lnTo>
                    <a:lnTo>
                      <a:pt x="226" y="654"/>
                    </a:lnTo>
                    <a:lnTo>
                      <a:pt x="225" y="643"/>
                    </a:lnTo>
                    <a:lnTo>
                      <a:pt x="219" y="631"/>
                    </a:lnTo>
                    <a:lnTo>
                      <a:pt x="210" y="622"/>
                    </a:lnTo>
                    <a:lnTo>
                      <a:pt x="198" y="618"/>
                    </a:lnTo>
                    <a:lnTo>
                      <a:pt x="188" y="619"/>
                    </a:lnTo>
                    <a:lnTo>
                      <a:pt x="180" y="617"/>
                    </a:lnTo>
                    <a:lnTo>
                      <a:pt x="182" y="605"/>
                    </a:lnTo>
                    <a:lnTo>
                      <a:pt x="200" y="570"/>
                    </a:lnTo>
                    <a:lnTo>
                      <a:pt x="201" y="557"/>
                    </a:lnTo>
                    <a:lnTo>
                      <a:pt x="194" y="527"/>
                    </a:lnTo>
                    <a:lnTo>
                      <a:pt x="208" y="425"/>
                    </a:lnTo>
                    <a:lnTo>
                      <a:pt x="202" y="380"/>
                    </a:lnTo>
                    <a:lnTo>
                      <a:pt x="235" y="350"/>
                    </a:lnTo>
                    <a:lnTo>
                      <a:pt x="248" y="332"/>
                    </a:lnTo>
                    <a:lnTo>
                      <a:pt x="255" y="314"/>
                    </a:lnTo>
                    <a:lnTo>
                      <a:pt x="253" y="295"/>
                    </a:lnTo>
                    <a:lnTo>
                      <a:pt x="237" y="283"/>
                    </a:lnTo>
                    <a:lnTo>
                      <a:pt x="224" y="269"/>
                    </a:lnTo>
                    <a:lnTo>
                      <a:pt x="218" y="249"/>
                    </a:lnTo>
                    <a:lnTo>
                      <a:pt x="226" y="192"/>
                    </a:lnTo>
                    <a:lnTo>
                      <a:pt x="226" y="191"/>
                    </a:lnTo>
                    <a:lnTo>
                      <a:pt x="234" y="192"/>
                    </a:lnTo>
                    <a:lnTo>
                      <a:pt x="241" y="193"/>
                    </a:lnTo>
                    <a:lnTo>
                      <a:pt x="246" y="195"/>
                    </a:lnTo>
                    <a:lnTo>
                      <a:pt x="251" y="196"/>
                    </a:lnTo>
                    <a:lnTo>
                      <a:pt x="255" y="194"/>
                    </a:lnTo>
                    <a:lnTo>
                      <a:pt x="257" y="190"/>
                    </a:lnTo>
                    <a:lnTo>
                      <a:pt x="259" y="174"/>
                    </a:lnTo>
                    <a:lnTo>
                      <a:pt x="260" y="172"/>
                    </a:lnTo>
                    <a:lnTo>
                      <a:pt x="268" y="171"/>
                    </a:lnTo>
                    <a:lnTo>
                      <a:pt x="270" y="171"/>
                    </a:lnTo>
                    <a:lnTo>
                      <a:pt x="272" y="168"/>
                    </a:lnTo>
                    <a:lnTo>
                      <a:pt x="274" y="165"/>
                    </a:lnTo>
                    <a:lnTo>
                      <a:pt x="276" y="158"/>
                    </a:lnTo>
                    <a:lnTo>
                      <a:pt x="271" y="157"/>
                    </a:lnTo>
                    <a:lnTo>
                      <a:pt x="273" y="152"/>
                    </a:lnTo>
                    <a:lnTo>
                      <a:pt x="277" y="147"/>
                    </a:lnTo>
                    <a:lnTo>
                      <a:pt x="278" y="142"/>
                    </a:lnTo>
                    <a:lnTo>
                      <a:pt x="289" y="131"/>
                    </a:lnTo>
                    <a:lnTo>
                      <a:pt x="290" y="130"/>
                    </a:lnTo>
                    <a:lnTo>
                      <a:pt x="291" y="132"/>
                    </a:lnTo>
                    <a:lnTo>
                      <a:pt x="293" y="131"/>
                    </a:lnTo>
                    <a:lnTo>
                      <a:pt x="295" y="130"/>
                    </a:lnTo>
                    <a:lnTo>
                      <a:pt x="297" y="128"/>
                    </a:lnTo>
                    <a:lnTo>
                      <a:pt x="298" y="126"/>
                    </a:lnTo>
                    <a:lnTo>
                      <a:pt x="298" y="121"/>
                    </a:lnTo>
                    <a:lnTo>
                      <a:pt x="301" y="124"/>
                    </a:lnTo>
                    <a:lnTo>
                      <a:pt x="304" y="126"/>
                    </a:lnTo>
                    <a:lnTo>
                      <a:pt x="308" y="128"/>
                    </a:lnTo>
                    <a:lnTo>
                      <a:pt x="312" y="129"/>
                    </a:lnTo>
                    <a:lnTo>
                      <a:pt x="315" y="128"/>
                    </a:lnTo>
                    <a:lnTo>
                      <a:pt x="317" y="121"/>
                    </a:lnTo>
                    <a:lnTo>
                      <a:pt x="320" y="119"/>
                    </a:lnTo>
                    <a:lnTo>
                      <a:pt x="327" y="118"/>
                    </a:lnTo>
                    <a:lnTo>
                      <a:pt x="332" y="114"/>
                    </a:lnTo>
                    <a:lnTo>
                      <a:pt x="339" y="105"/>
                    </a:lnTo>
                    <a:lnTo>
                      <a:pt x="341" y="100"/>
                    </a:lnTo>
                    <a:lnTo>
                      <a:pt x="342" y="100"/>
                    </a:lnTo>
                    <a:lnTo>
                      <a:pt x="343" y="99"/>
                    </a:lnTo>
                    <a:lnTo>
                      <a:pt x="344" y="100"/>
                    </a:lnTo>
                    <a:lnTo>
                      <a:pt x="346" y="102"/>
                    </a:lnTo>
                    <a:lnTo>
                      <a:pt x="348" y="103"/>
                    </a:lnTo>
                    <a:lnTo>
                      <a:pt x="352" y="103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8" y="96"/>
                    </a:lnTo>
                    <a:lnTo>
                      <a:pt x="349" y="94"/>
                    </a:lnTo>
                    <a:lnTo>
                      <a:pt x="353" y="93"/>
                    </a:lnTo>
                    <a:lnTo>
                      <a:pt x="354" y="92"/>
                    </a:lnTo>
                    <a:lnTo>
                      <a:pt x="355" y="92"/>
                    </a:lnTo>
                    <a:lnTo>
                      <a:pt x="358" y="92"/>
                    </a:lnTo>
                    <a:lnTo>
                      <a:pt x="359" y="92"/>
                    </a:lnTo>
                    <a:lnTo>
                      <a:pt x="359" y="91"/>
                    </a:lnTo>
                    <a:lnTo>
                      <a:pt x="358" y="89"/>
                    </a:lnTo>
                    <a:lnTo>
                      <a:pt x="359" y="88"/>
                    </a:lnTo>
                    <a:lnTo>
                      <a:pt x="367" y="79"/>
                    </a:lnTo>
                    <a:lnTo>
                      <a:pt x="371" y="76"/>
                    </a:lnTo>
                    <a:lnTo>
                      <a:pt x="369" y="74"/>
                    </a:lnTo>
                    <a:lnTo>
                      <a:pt x="367" y="72"/>
                    </a:lnTo>
                    <a:lnTo>
                      <a:pt x="365" y="71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7" y="69"/>
                    </a:lnTo>
                    <a:lnTo>
                      <a:pt x="371" y="71"/>
                    </a:lnTo>
                    <a:lnTo>
                      <a:pt x="374" y="71"/>
                    </a:lnTo>
                    <a:lnTo>
                      <a:pt x="375" y="66"/>
                    </a:lnTo>
                    <a:lnTo>
                      <a:pt x="383" y="68"/>
                    </a:lnTo>
                    <a:lnTo>
                      <a:pt x="392" y="66"/>
                    </a:lnTo>
                    <a:lnTo>
                      <a:pt x="418" y="52"/>
                    </a:lnTo>
                    <a:lnTo>
                      <a:pt x="426" y="49"/>
                    </a:lnTo>
                    <a:lnTo>
                      <a:pt x="435" y="49"/>
                    </a:lnTo>
                    <a:lnTo>
                      <a:pt x="435" y="51"/>
                    </a:lnTo>
                    <a:lnTo>
                      <a:pt x="433" y="54"/>
                    </a:lnTo>
                    <a:lnTo>
                      <a:pt x="437" y="56"/>
                    </a:lnTo>
                    <a:lnTo>
                      <a:pt x="442" y="56"/>
                    </a:lnTo>
                    <a:lnTo>
                      <a:pt x="447" y="54"/>
                    </a:lnTo>
                    <a:lnTo>
                      <a:pt x="447" y="55"/>
                    </a:lnTo>
                    <a:lnTo>
                      <a:pt x="449" y="56"/>
                    </a:lnTo>
                    <a:lnTo>
                      <a:pt x="452" y="50"/>
                    </a:lnTo>
                    <a:lnTo>
                      <a:pt x="453" y="49"/>
                    </a:lnTo>
                    <a:lnTo>
                      <a:pt x="456" y="49"/>
                    </a:lnTo>
                    <a:lnTo>
                      <a:pt x="456" y="52"/>
                    </a:lnTo>
                    <a:lnTo>
                      <a:pt x="456" y="56"/>
                    </a:lnTo>
                    <a:lnTo>
                      <a:pt x="455" y="58"/>
                    </a:lnTo>
                    <a:lnTo>
                      <a:pt x="463" y="55"/>
                    </a:lnTo>
                    <a:lnTo>
                      <a:pt x="471" y="52"/>
                    </a:lnTo>
                    <a:lnTo>
                      <a:pt x="479" y="50"/>
                    </a:lnTo>
                    <a:lnTo>
                      <a:pt x="484" y="43"/>
                    </a:lnTo>
                    <a:lnTo>
                      <a:pt x="480" y="42"/>
                    </a:lnTo>
                    <a:lnTo>
                      <a:pt x="479" y="41"/>
                    </a:lnTo>
                    <a:lnTo>
                      <a:pt x="482" y="37"/>
                    </a:lnTo>
                    <a:lnTo>
                      <a:pt x="483" y="36"/>
                    </a:lnTo>
                    <a:lnTo>
                      <a:pt x="485" y="37"/>
                    </a:lnTo>
                    <a:lnTo>
                      <a:pt x="487" y="36"/>
                    </a:lnTo>
                    <a:lnTo>
                      <a:pt x="488" y="34"/>
                    </a:lnTo>
                    <a:lnTo>
                      <a:pt x="488" y="32"/>
                    </a:lnTo>
                    <a:lnTo>
                      <a:pt x="486" y="30"/>
                    </a:lnTo>
                    <a:lnTo>
                      <a:pt x="486" y="29"/>
                    </a:lnTo>
                    <a:lnTo>
                      <a:pt x="488" y="26"/>
                    </a:lnTo>
                    <a:lnTo>
                      <a:pt x="490" y="23"/>
                    </a:lnTo>
                    <a:lnTo>
                      <a:pt x="501" y="13"/>
                    </a:lnTo>
                    <a:lnTo>
                      <a:pt x="506" y="8"/>
                    </a:lnTo>
                    <a:lnTo>
                      <a:pt x="506" y="3"/>
                    </a:lnTo>
                    <a:lnTo>
                      <a:pt x="509" y="1"/>
                    </a:lnTo>
                    <a:lnTo>
                      <a:pt x="518" y="0"/>
                    </a:lnTo>
                    <a:lnTo>
                      <a:pt x="518" y="0"/>
                    </a:lnTo>
                    <a:lnTo>
                      <a:pt x="519" y="9"/>
                    </a:lnTo>
                    <a:lnTo>
                      <a:pt x="520" y="19"/>
                    </a:lnTo>
                    <a:lnTo>
                      <a:pt x="521" y="30"/>
                    </a:lnTo>
                    <a:lnTo>
                      <a:pt x="518" y="40"/>
                    </a:lnTo>
                    <a:lnTo>
                      <a:pt x="535" y="74"/>
                    </a:lnTo>
                    <a:lnTo>
                      <a:pt x="532" y="83"/>
                    </a:lnTo>
                    <a:lnTo>
                      <a:pt x="532" y="78"/>
                    </a:lnTo>
                    <a:lnTo>
                      <a:pt x="526" y="84"/>
                    </a:lnTo>
                    <a:lnTo>
                      <a:pt x="530" y="94"/>
                    </a:lnTo>
                    <a:lnTo>
                      <a:pt x="547" y="108"/>
                    </a:lnTo>
                    <a:lnTo>
                      <a:pt x="548" y="110"/>
                    </a:lnTo>
                    <a:lnTo>
                      <a:pt x="551" y="113"/>
                    </a:lnTo>
                    <a:lnTo>
                      <a:pt x="558" y="125"/>
                    </a:lnTo>
                    <a:lnTo>
                      <a:pt x="577" y="151"/>
                    </a:lnTo>
                    <a:lnTo>
                      <a:pt x="588" y="162"/>
                    </a:lnTo>
                    <a:lnTo>
                      <a:pt x="608" y="173"/>
                    </a:lnTo>
                    <a:lnTo>
                      <a:pt x="616" y="175"/>
                    </a:lnTo>
                    <a:lnTo>
                      <a:pt x="624" y="176"/>
                    </a:lnTo>
                    <a:lnTo>
                      <a:pt x="627" y="178"/>
                    </a:lnTo>
                    <a:lnTo>
                      <a:pt x="626" y="184"/>
                    </a:lnTo>
                    <a:lnTo>
                      <a:pt x="622" y="185"/>
                    </a:lnTo>
                    <a:lnTo>
                      <a:pt x="620" y="184"/>
                    </a:lnTo>
                    <a:lnTo>
                      <a:pt x="619" y="185"/>
                    </a:lnTo>
                    <a:lnTo>
                      <a:pt x="617" y="185"/>
                    </a:lnTo>
                    <a:lnTo>
                      <a:pt x="616" y="187"/>
                    </a:lnTo>
                    <a:lnTo>
                      <a:pt x="620" y="189"/>
                    </a:lnTo>
                    <a:lnTo>
                      <a:pt x="624" y="200"/>
                    </a:lnTo>
                    <a:lnTo>
                      <a:pt x="629" y="199"/>
                    </a:lnTo>
                    <a:lnTo>
                      <a:pt x="638" y="197"/>
                    </a:lnTo>
                    <a:lnTo>
                      <a:pt x="663" y="174"/>
                    </a:lnTo>
                    <a:lnTo>
                      <a:pt x="673" y="172"/>
                    </a:lnTo>
                    <a:lnTo>
                      <a:pt x="672" y="174"/>
                    </a:lnTo>
                    <a:lnTo>
                      <a:pt x="669" y="177"/>
                    </a:lnTo>
                    <a:lnTo>
                      <a:pt x="669" y="181"/>
                    </a:lnTo>
                    <a:lnTo>
                      <a:pt x="672" y="181"/>
                    </a:lnTo>
                    <a:lnTo>
                      <a:pt x="674" y="187"/>
                    </a:lnTo>
                    <a:lnTo>
                      <a:pt x="674" y="190"/>
                    </a:lnTo>
                    <a:lnTo>
                      <a:pt x="672" y="191"/>
                    </a:lnTo>
                    <a:lnTo>
                      <a:pt x="670" y="187"/>
                    </a:lnTo>
                    <a:lnTo>
                      <a:pt x="668" y="187"/>
                    </a:lnTo>
                    <a:lnTo>
                      <a:pt x="665" y="191"/>
                    </a:lnTo>
                    <a:lnTo>
                      <a:pt x="657" y="195"/>
                    </a:lnTo>
                    <a:lnTo>
                      <a:pt x="654" y="198"/>
                    </a:lnTo>
                    <a:lnTo>
                      <a:pt x="655" y="202"/>
                    </a:lnTo>
                    <a:lnTo>
                      <a:pt x="656" y="206"/>
                    </a:lnTo>
                    <a:lnTo>
                      <a:pt x="653" y="209"/>
                    </a:lnTo>
                    <a:lnTo>
                      <a:pt x="644" y="224"/>
                    </a:lnTo>
                    <a:lnTo>
                      <a:pt x="644" y="231"/>
                    </a:lnTo>
                    <a:lnTo>
                      <a:pt x="650" y="234"/>
                    </a:lnTo>
                    <a:lnTo>
                      <a:pt x="650" y="239"/>
                    </a:lnTo>
                    <a:lnTo>
                      <a:pt x="649" y="247"/>
                    </a:lnTo>
                    <a:lnTo>
                      <a:pt x="651" y="247"/>
                    </a:lnTo>
                    <a:lnTo>
                      <a:pt x="649" y="252"/>
                    </a:lnTo>
                    <a:lnTo>
                      <a:pt x="647" y="258"/>
                    </a:lnTo>
                    <a:lnTo>
                      <a:pt x="650" y="262"/>
                    </a:lnTo>
                    <a:lnTo>
                      <a:pt x="655" y="264"/>
                    </a:lnTo>
                    <a:lnTo>
                      <a:pt x="653" y="267"/>
                    </a:lnTo>
                    <a:lnTo>
                      <a:pt x="645" y="270"/>
                    </a:lnTo>
                    <a:lnTo>
                      <a:pt x="645" y="271"/>
                    </a:lnTo>
                    <a:lnTo>
                      <a:pt x="647" y="271"/>
                    </a:lnTo>
                    <a:lnTo>
                      <a:pt x="651" y="273"/>
                    </a:lnTo>
                    <a:lnTo>
                      <a:pt x="652" y="277"/>
                    </a:lnTo>
                    <a:lnTo>
                      <a:pt x="654" y="278"/>
                    </a:lnTo>
                    <a:lnTo>
                      <a:pt x="656" y="280"/>
                    </a:lnTo>
                    <a:lnTo>
                      <a:pt x="653" y="281"/>
                    </a:lnTo>
                    <a:lnTo>
                      <a:pt x="649" y="283"/>
                    </a:lnTo>
                    <a:lnTo>
                      <a:pt x="654" y="286"/>
                    </a:lnTo>
                    <a:lnTo>
                      <a:pt x="649" y="287"/>
                    </a:lnTo>
                    <a:lnTo>
                      <a:pt x="647" y="289"/>
                    </a:lnTo>
                    <a:lnTo>
                      <a:pt x="648" y="292"/>
                    </a:lnTo>
                    <a:lnTo>
                      <a:pt x="650" y="293"/>
                    </a:lnTo>
                    <a:lnTo>
                      <a:pt x="649" y="295"/>
                    </a:lnTo>
                    <a:lnTo>
                      <a:pt x="648" y="297"/>
                    </a:lnTo>
                    <a:lnTo>
                      <a:pt x="649" y="299"/>
                    </a:lnTo>
                    <a:lnTo>
                      <a:pt x="652" y="300"/>
                    </a:lnTo>
                    <a:lnTo>
                      <a:pt x="652" y="302"/>
                    </a:lnTo>
                    <a:lnTo>
                      <a:pt x="648" y="304"/>
                    </a:lnTo>
                    <a:lnTo>
                      <a:pt x="648" y="307"/>
                    </a:lnTo>
                    <a:lnTo>
                      <a:pt x="650" y="308"/>
                    </a:lnTo>
                    <a:lnTo>
                      <a:pt x="653" y="307"/>
                    </a:lnTo>
                    <a:lnTo>
                      <a:pt x="653" y="310"/>
                    </a:lnTo>
                    <a:lnTo>
                      <a:pt x="650" y="311"/>
                    </a:lnTo>
                    <a:lnTo>
                      <a:pt x="647" y="312"/>
                    </a:lnTo>
                    <a:lnTo>
                      <a:pt x="650" y="315"/>
                    </a:lnTo>
                    <a:lnTo>
                      <a:pt x="656" y="317"/>
                    </a:lnTo>
                    <a:lnTo>
                      <a:pt x="661" y="322"/>
                    </a:lnTo>
                    <a:lnTo>
                      <a:pt x="662" y="329"/>
                    </a:lnTo>
                    <a:lnTo>
                      <a:pt x="665" y="329"/>
                    </a:lnTo>
                    <a:lnTo>
                      <a:pt x="669" y="332"/>
                    </a:lnTo>
                    <a:lnTo>
                      <a:pt x="670" y="337"/>
                    </a:lnTo>
                    <a:lnTo>
                      <a:pt x="673" y="340"/>
                    </a:lnTo>
                    <a:lnTo>
                      <a:pt x="677" y="339"/>
                    </a:lnTo>
                    <a:lnTo>
                      <a:pt x="679" y="337"/>
                    </a:lnTo>
                    <a:lnTo>
                      <a:pt x="684" y="340"/>
                    </a:lnTo>
                    <a:lnTo>
                      <a:pt x="687" y="347"/>
                    </a:lnTo>
                    <a:lnTo>
                      <a:pt x="690" y="349"/>
                    </a:lnTo>
                    <a:lnTo>
                      <a:pt x="693" y="350"/>
                    </a:lnTo>
                    <a:lnTo>
                      <a:pt x="694" y="354"/>
                    </a:lnTo>
                    <a:lnTo>
                      <a:pt x="698" y="356"/>
                    </a:lnTo>
                    <a:lnTo>
                      <a:pt x="704" y="359"/>
                    </a:lnTo>
                    <a:lnTo>
                      <a:pt x="706" y="369"/>
                    </a:lnTo>
                    <a:lnTo>
                      <a:pt x="706" y="373"/>
                    </a:lnTo>
                    <a:lnTo>
                      <a:pt x="708" y="376"/>
                    </a:lnTo>
                    <a:lnTo>
                      <a:pt x="716" y="379"/>
                    </a:lnTo>
                    <a:lnTo>
                      <a:pt x="723" y="377"/>
                    </a:lnTo>
                    <a:lnTo>
                      <a:pt x="731" y="378"/>
                    </a:lnTo>
                    <a:lnTo>
                      <a:pt x="732" y="381"/>
                    </a:lnTo>
                    <a:lnTo>
                      <a:pt x="734" y="383"/>
                    </a:lnTo>
                    <a:lnTo>
                      <a:pt x="755" y="377"/>
                    </a:lnTo>
                    <a:lnTo>
                      <a:pt x="764" y="376"/>
                    </a:lnTo>
                    <a:lnTo>
                      <a:pt x="764" y="376"/>
                    </a:lnTo>
                    <a:lnTo>
                      <a:pt x="766" y="381"/>
                    </a:lnTo>
                    <a:lnTo>
                      <a:pt x="766" y="387"/>
                    </a:lnTo>
                    <a:lnTo>
                      <a:pt x="764" y="396"/>
                    </a:lnTo>
                    <a:lnTo>
                      <a:pt x="764" y="400"/>
                    </a:lnTo>
                    <a:lnTo>
                      <a:pt x="768" y="404"/>
                    </a:lnTo>
                    <a:lnTo>
                      <a:pt x="772" y="407"/>
                    </a:lnTo>
                    <a:lnTo>
                      <a:pt x="776" y="408"/>
                    </a:lnTo>
                    <a:lnTo>
                      <a:pt x="837" y="409"/>
                    </a:lnTo>
                    <a:lnTo>
                      <a:pt x="857" y="414"/>
                    </a:lnTo>
                    <a:lnTo>
                      <a:pt x="865" y="418"/>
                    </a:lnTo>
                    <a:lnTo>
                      <a:pt x="866" y="421"/>
                    </a:lnTo>
                    <a:lnTo>
                      <a:pt x="865" y="425"/>
                    </a:lnTo>
                    <a:lnTo>
                      <a:pt x="865" y="428"/>
                    </a:lnTo>
                    <a:lnTo>
                      <a:pt x="867" y="431"/>
                    </a:lnTo>
                    <a:lnTo>
                      <a:pt x="876" y="437"/>
                    </a:lnTo>
                    <a:lnTo>
                      <a:pt x="879" y="439"/>
                    </a:lnTo>
                    <a:lnTo>
                      <a:pt x="879" y="441"/>
                    </a:lnTo>
                    <a:lnTo>
                      <a:pt x="878" y="441"/>
                    </a:lnTo>
                    <a:lnTo>
                      <a:pt x="875" y="443"/>
                    </a:lnTo>
                    <a:lnTo>
                      <a:pt x="881" y="447"/>
                    </a:lnTo>
                    <a:lnTo>
                      <a:pt x="887" y="450"/>
                    </a:lnTo>
                    <a:lnTo>
                      <a:pt x="892" y="454"/>
                    </a:lnTo>
                    <a:lnTo>
                      <a:pt x="895" y="460"/>
                    </a:lnTo>
                    <a:lnTo>
                      <a:pt x="896" y="461"/>
                    </a:lnTo>
                    <a:lnTo>
                      <a:pt x="900" y="460"/>
                    </a:lnTo>
                    <a:lnTo>
                      <a:pt x="904" y="458"/>
                    </a:lnTo>
                    <a:lnTo>
                      <a:pt x="910" y="459"/>
                    </a:lnTo>
                    <a:lnTo>
                      <a:pt x="911" y="462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0" tIns="0" rIns="0" bIns="0" rtlCol="0" anchor="ctr" anchorCtr="0"/>
              <a:lstStyle/>
              <a:p>
                <a:pPr algn="ctr" defTabSz="685800" hangingPunct="0"/>
                <a:endParaRPr lang="en-US" sz="1350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Candara"/>
                  <a:sym typeface="Helvetica"/>
                </a:endParaRPr>
              </a:p>
            </p:txBody>
          </p:sp>
        </p:grpSp>
        <p:sp>
          <p:nvSpPr>
            <p:cNvPr id="118" name="Benue"/>
            <p:cNvSpPr>
              <a:spLocks/>
            </p:cNvSpPr>
            <p:nvPr/>
          </p:nvSpPr>
          <p:spPr bwMode="auto">
            <a:xfrm>
              <a:off x="-7296681" y="4605408"/>
              <a:ext cx="1178740" cy="835892"/>
            </a:xfrm>
            <a:custGeom>
              <a:avLst/>
              <a:gdLst>
                <a:gd name="T0" fmla="*/ 646 w 729"/>
                <a:gd name="T1" fmla="*/ 485 h 517"/>
                <a:gd name="T2" fmla="*/ 629 w 729"/>
                <a:gd name="T3" fmla="*/ 491 h 517"/>
                <a:gd name="T4" fmla="*/ 611 w 729"/>
                <a:gd name="T5" fmla="*/ 511 h 517"/>
                <a:gd name="T6" fmla="*/ 585 w 729"/>
                <a:gd name="T7" fmla="*/ 491 h 517"/>
                <a:gd name="T8" fmla="*/ 475 w 729"/>
                <a:gd name="T9" fmla="*/ 444 h 517"/>
                <a:gd name="T10" fmla="*/ 443 w 729"/>
                <a:gd name="T11" fmla="*/ 438 h 517"/>
                <a:gd name="T12" fmla="*/ 403 w 729"/>
                <a:gd name="T13" fmla="*/ 383 h 517"/>
                <a:gd name="T14" fmla="*/ 341 w 729"/>
                <a:gd name="T15" fmla="*/ 381 h 517"/>
                <a:gd name="T16" fmla="*/ 335 w 729"/>
                <a:gd name="T17" fmla="*/ 410 h 517"/>
                <a:gd name="T18" fmla="*/ 299 w 729"/>
                <a:gd name="T19" fmla="*/ 419 h 517"/>
                <a:gd name="T20" fmla="*/ 266 w 729"/>
                <a:gd name="T21" fmla="*/ 424 h 517"/>
                <a:gd name="T22" fmla="*/ 239 w 729"/>
                <a:gd name="T23" fmla="*/ 439 h 517"/>
                <a:gd name="T24" fmla="*/ 226 w 729"/>
                <a:gd name="T25" fmla="*/ 409 h 517"/>
                <a:gd name="T26" fmla="*/ 216 w 729"/>
                <a:gd name="T27" fmla="*/ 407 h 517"/>
                <a:gd name="T28" fmla="*/ 198 w 729"/>
                <a:gd name="T29" fmla="*/ 413 h 517"/>
                <a:gd name="T30" fmla="*/ 163 w 729"/>
                <a:gd name="T31" fmla="*/ 431 h 517"/>
                <a:gd name="T32" fmla="*/ 143 w 729"/>
                <a:gd name="T33" fmla="*/ 467 h 517"/>
                <a:gd name="T34" fmla="*/ 100 w 729"/>
                <a:gd name="T35" fmla="*/ 452 h 517"/>
                <a:gd name="T36" fmla="*/ 107 w 729"/>
                <a:gd name="T37" fmla="*/ 396 h 517"/>
                <a:gd name="T38" fmla="*/ 76 w 729"/>
                <a:gd name="T39" fmla="*/ 380 h 517"/>
                <a:gd name="T40" fmla="*/ 44 w 729"/>
                <a:gd name="T41" fmla="*/ 382 h 517"/>
                <a:gd name="T42" fmla="*/ 14 w 729"/>
                <a:gd name="T43" fmla="*/ 355 h 517"/>
                <a:gd name="T44" fmla="*/ 11 w 729"/>
                <a:gd name="T45" fmla="*/ 324 h 517"/>
                <a:gd name="T46" fmla="*/ 42 w 729"/>
                <a:gd name="T47" fmla="*/ 336 h 517"/>
                <a:gd name="T48" fmla="*/ 87 w 729"/>
                <a:gd name="T49" fmla="*/ 289 h 517"/>
                <a:gd name="T50" fmla="*/ 105 w 729"/>
                <a:gd name="T51" fmla="*/ 236 h 517"/>
                <a:gd name="T52" fmla="*/ 107 w 729"/>
                <a:gd name="T53" fmla="*/ 211 h 517"/>
                <a:gd name="T54" fmla="*/ 83 w 729"/>
                <a:gd name="T55" fmla="*/ 195 h 517"/>
                <a:gd name="T56" fmla="*/ 77 w 729"/>
                <a:gd name="T57" fmla="*/ 114 h 517"/>
                <a:gd name="T58" fmla="*/ 54 w 729"/>
                <a:gd name="T59" fmla="*/ 81 h 517"/>
                <a:gd name="T60" fmla="*/ 51 w 729"/>
                <a:gd name="T61" fmla="*/ 33 h 517"/>
                <a:gd name="T62" fmla="*/ 100 w 729"/>
                <a:gd name="T63" fmla="*/ 43 h 517"/>
                <a:gd name="T64" fmla="*/ 142 w 729"/>
                <a:gd name="T65" fmla="*/ 51 h 517"/>
                <a:gd name="T66" fmla="*/ 187 w 729"/>
                <a:gd name="T67" fmla="*/ 66 h 517"/>
                <a:gd name="T68" fmla="*/ 221 w 729"/>
                <a:gd name="T69" fmla="*/ 80 h 517"/>
                <a:gd name="T70" fmla="*/ 246 w 729"/>
                <a:gd name="T71" fmla="*/ 91 h 517"/>
                <a:gd name="T72" fmla="*/ 271 w 729"/>
                <a:gd name="T73" fmla="*/ 107 h 517"/>
                <a:gd name="T74" fmla="*/ 281 w 729"/>
                <a:gd name="T75" fmla="*/ 103 h 517"/>
                <a:gd name="T76" fmla="*/ 258 w 729"/>
                <a:gd name="T77" fmla="*/ 40 h 517"/>
                <a:gd name="T78" fmla="*/ 319 w 729"/>
                <a:gd name="T79" fmla="*/ 0 h 517"/>
                <a:gd name="T80" fmla="*/ 435 w 729"/>
                <a:gd name="T81" fmla="*/ 27 h 517"/>
                <a:gd name="T82" fmla="*/ 503 w 729"/>
                <a:gd name="T83" fmla="*/ 66 h 517"/>
                <a:gd name="T84" fmla="*/ 499 w 729"/>
                <a:gd name="T85" fmla="*/ 96 h 517"/>
                <a:gd name="T86" fmla="*/ 578 w 729"/>
                <a:gd name="T87" fmla="*/ 82 h 517"/>
                <a:gd name="T88" fmla="*/ 685 w 729"/>
                <a:gd name="T89" fmla="*/ 145 h 517"/>
                <a:gd name="T90" fmla="*/ 718 w 729"/>
                <a:gd name="T91" fmla="*/ 243 h 517"/>
                <a:gd name="T92" fmla="*/ 687 w 729"/>
                <a:gd name="T93" fmla="*/ 301 h 517"/>
                <a:gd name="T94" fmla="*/ 655 w 729"/>
                <a:gd name="T95" fmla="*/ 386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29" h="517">
                  <a:moveTo>
                    <a:pt x="653" y="456"/>
                  </a:moveTo>
                  <a:lnTo>
                    <a:pt x="646" y="485"/>
                  </a:lnTo>
                  <a:lnTo>
                    <a:pt x="646" y="485"/>
                  </a:lnTo>
                  <a:lnTo>
                    <a:pt x="642" y="485"/>
                  </a:lnTo>
                  <a:lnTo>
                    <a:pt x="634" y="487"/>
                  </a:lnTo>
                  <a:lnTo>
                    <a:pt x="629" y="491"/>
                  </a:lnTo>
                  <a:lnTo>
                    <a:pt x="621" y="504"/>
                  </a:lnTo>
                  <a:lnTo>
                    <a:pt x="617" y="508"/>
                  </a:lnTo>
                  <a:lnTo>
                    <a:pt x="611" y="511"/>
                  </a:lnTo>
                  <a:lnTo>
                    <a:pt x="599" y="517"/>
                  </a:lnTo>
                  <a:lnTo>
                    <a:pt x="593" y="506"/>
                  </a:lnTo>
                  <a:lnTo>
                    <a:pt x="585" y="491"/>
                  </a:lnTo>
                  <a:lnTo>
                    <a:pt x="549" y="449"/>
                  </a:lnTo>
                  <a:lnTo>
                    <a:pt x="522" y="436"/>
                  </a:lnTo>
                  <a:lnTo>
                    <a:pt x="475" y="444"/>
                  </a:lnTo>
                  <a:lnTo>
                    <a:pt x="457" y="445"/>
                  </a:lnTo>
                  <a:lnTo>
                    <a:pt x="449" y="443"/>
                  </a:lnTo>
                  <a:lnTo>
                    <a:pt x="443" y="438"/>
                  </a:lnTo>
                  <a:lnTo>
                    <a:pt x="446" y="420"/>
                  </a:lnTo>
                  <a:lnTo>
                    <a:pt x="439" y="404"/>
                  </a:lnTo>
                  <a:lnTo>
                    <a:pt x="403" y="383"/>
                  </a:lnTo>
                  <a:lnTo>
                    <a:pt x="382" y="375"/>
                  </a:lnTo>
                  <a:lnTo>
                    <a:pt x="361" y="373"/>
                  </a:lnTo>
                  <a:lnTo>
                    <a:pt x="341" y="381"/>
                  </a:lnTo>
                  <a:lnTo>
                    <a:pt x="338" y="391"/>
                  </a:lnTo>
                  <a:lnTo>
                    <a:pt x="341" y="402"/>
                  </a:lnTo>
                  <a:lnTo>
                    <a:pt x="335" y="410"/>
                  </a:lnTo>
                  <a:lnTo>
                    <a:pt x="325" y="416"/>
                  </a:lnTo>
                  <a:lnTo>
                    <a:pt x="312" y="419"/>
                  </a:lnTo>
                  <a:lnTo>
                    <a:pt x="299" y="419"/>
                  </a:lnTo>
                  <a:lnTo>
                    <a:pt x="287" y="418"/>
                  </a:lnTo>
                  <a:lnTo>
                    <a:pt x="275" y="417"/>
                  </a:lnTo>
                  <a:lnTo>
                    <a:pt x="266" y="424"/>
                  </a:lnTo>
                  <a:lnTo>
                    <a:pt x="258" y="433"/>
                  </a:lnTo>
                  <a:lnTo>
                    <a:pt x="249" y="438"/>
                  </a:lnTo>
                  <a:lnTo>
                    <a:pt x="239" y="439"/>
                  </a:lnTo>
                  <a:lnTo>
                    <a:pt x="232" y="431"/>
                  </a:lnTo>
                  <a:lnTo>
                    <a:pt x="228" y="421"/>
                  </a:lnTo>
                  <a:lnTo>
                    <a:pt x="226" y="409"/>
                  </a:lnTo>
                  <a:lnTo>
                    <a:pt x="223" y="404"/>
                  </a:lnTo>
                  <a:lnTo>
                    <a:pt x="217" y="404"/>
                  </a:lnTo>
                  <a:lnTo>
                    <a:pt x="216" y="407"/>
                  </a:lnTo>
                  <a:lnTo>
                    <a:pt x="213" y="412"/>
                  </a:lnTo>
                  <a:lnTo>
                    <a:pt x="205" y="412"/>
                  </a:lnTo>
                  <a:lnTo>
                    <a:pt x="198" y="413"/>
                  </a:lnTo>
                  <a:lnTo>
                    <a:pt x="187" y="428"/>
                  </a:lnTo>
                  <a:lnTo>
                    <a:pt x="176" y="431"/>
                  </a:lnTo>
                  <a:lnTo>
                    <a:pt x="163" y="431"/>
                  </a:lnTo>
                  <a:lnTo>
                    <a:pt x="151" y="433"/>
                  </a:lnTo>
                  <a:lnTo>
                    <a:pt x="146" y="443"/>
                  </a:lnTo>
                  <a:lnTo>
                    <a:pt x="143" y="467"/>
                  </a:lnTo>
                  <a:lnTo>
                    <a:pt x="130" y="486"/>
                  </a:lnTo>
                  <a:lnTo>
                    <a:pt x="109" y="474"/>
                  </a:lnTo>
                  <a:lnTo>
                    <a:pt x="100" y="452"/>
                  </a:lnTo>
                  <a:lnTo>
                    <a:pt x="110" y="424"/>
                  </a:lnTo>
                  <a:lnTo>
                    <a:pt x="110" y="410"/>
                  </a:lnTo>
                  <a:lnTo>
                    <a:pt x="107" y="396"/>
                  </a:lnTo>
                  <a:lnTo>
                    <a:pt x="99" y="383"/>
                  </a:lnTo>
                  <a:lnTo>
                    <a:pt x="87" y="377"/>
                  </a:lnTo>
                  <a:lnTo>
                    <a:pt x="76" y="380"/>
                  </a:lnTo>
                  <a:lnTo>
                    <a:pt x="67" y="386"/>
                  </a:lnTo>
                  <a:lnTo>
                    <a:pt x="55" y="389"/>
                  </a:lnTo>
                  <a:lnTo>
                    <a:pt x="44" y="382"/>
                  </a:lnTo>
                  <a:lnTo>
                    <a:pt x="32" y="374"/>
                  </a:lnTo>
                  <a:lnTo>
                    <a:pt x="22" y="365"/>
                  </a:lnTo>
                  <a:lnTo>
                    <a:pt x="14" y="355"/>
                  </a:lnTo>
                  <a:lnTo>
                    <a:pt x="3" y="331"/>
                  </a:lnTo>
                  <a:lnTo>
                    <a:pt x="0" y="319"/>
                  </a:lnTo>
                  <a:lnTo>
                    <a:pt x="11" y="324"/>
                  </a:lnTo>
                  <a:lnTo>
                    <a:pt x="23" y="335"/>
                  </a:lnTo>
                  <a:lnTo>
                    <a:pt x="33" y="339"/>
                  </a:lnTo>
                  <a:lnTo>
                    <a:pt x="42" y="336"/>
                  </a:lnTo>
                  <a:lnTo>
                    <a:pt x="42" y="323"/>
                  </a:lnTo>
                  <a:lnTo>
                    <a:pt x="47" y="312"/>
                  </a:lnTo>
                  <a:lnTo>
                    <a:pt x="87" y="289"/>
                  </a:lnTo>
                  <a:lnTo>
                    <a:pt x="99" y="269"/>
                  </a:lnTo>
                  <a:lnTo>
                    <a:pt x="105" y="245"/>
                  </a:lnTo>
                  <a:lnTo>
                    <a:pt x="105" y="236"/>
                  </a:lnTo>
                  <a:lnTo>
                    <a:pt x="109" y="227"/>
                  </a:lnTo>
                  <a:lnTo>
                    <a:pt x="115" y="216"/>
                  </a:lnTo>
                  <a:lnTo>
                    <a:pt x="107" y="211"/>
                  </a:lnTo>
                  <a:lnTo>
                    <a:pt x="96" y="212"/>
                  </a:lnTo>
                  <a:lnTo>
                    <a:pt x="87" y="207"/>
                  </a:lnTo>
                  <a:lnTo>
                    <a:pt x="83" y="195"/>
                  </a:lnTo>
                  <a:lnTo>
                    <a:pt x="78" y="159"/>
                  </a:lnTo>
                  <a:lnTo>
                    <a:pt x="78" y="125"/>
                  </a:lnTo>
                  <a:lnTo>
                    <a:pt x="77" y="114"/>
                  </a:lnTo>
                  <a:lnTo>
                    <a:pt x="71" y="103"/>
                  </a:lnTo>
                  <a:lnTo>
                    <a:pt x="63" y="95"/>
                  </a:lnTo>
                  <a:lnTo>
                    <a:pt x="54" y="81"/>
                  </a:lnTo>
                  <a:lnTo>
                    <a:pt x="50" y="66"/>
                  </a:lnTo>
                  <a:lnTo>
                    <a:pt x="50" y="49"/>
                  </a:lnTo>
                  <a:lnTo>
                    <a:pt x="51" y="33"/>
                  </a:lnTo>
                  <a:lnTo>
                    <a:pt x="66" y="36"/>
                  </a:lnTo>
                  <a:lnTo>
                    <a:pt x="86" y="39"/>
                  </a:lnTo>
                  <a:lnTo>
                    <a:pt x="100" y="43"/>
                  </a:lnTo>
                  <a:lnTo>
                    <a:pt x="110" y="45"/>
                  </a:lnTo>
                  <a:lnTo>
                    <a:pt x="132" y="48"/>
                  </a:lnTo>
                  <a:lnTo>
                    <a:pt x="142" y="51"/>
                  </a:lnTo>
                  <a:lnTo>
                    <a:pt x="157" y="60"/>
                  </a:lnTo>
                  <a:lnTo>
                    <a:pt x="162" y="62"/>
                  </a:lnTo>
                  <a:lnTo>
                    <a:pt x="187" y="66"/>
                  </a:lnTo>
                  <a:lnTo>
                    <a:pt x="195" y="69"/>
                  </a:lnTo>
                  <a:lnTo>
                    <a:pt x="212" y="78"/>
                  </a:lnTo>
                  <a:lnTo>
                    <a:pt x="221" y="80"/>
                  </a:lnTo>
                  <a:lnTo>
                    <a:pt x="231" y="81"/>
                  </a:lnTo>
                  <a:lnTo>
                    <a:pt x="239" y="84"/>
                  </a:lnTo>
                  <a:lnTo>
                    <a:pt x="246" y="91"/>
                  </a:lnTo>
                  <a:lnTo>
                    <a:pt x="261" y="99"/>
                  </a:lnTo>
                  <a:lnTo>
                    <a:pt x="268" y="105"/>
                  </a:lnTo>
                  <a:lnTo>
                    <a:pt x="271" y="107"/>
                  </a:lnTo>
                  <a:lnTo>
                    <a:pt x="275" y="108"/>
                  </a:lnTo>
                  <a:lnTo>
                    <a:pt x="277" y="108"/>
                  </a:lnTo>
                  <a:lnTo>
                    <a:pt x="281" y="103"/>
                  </a:lnTo>
                  <a:lnTo>
                    <a:pt x="279" y="92"/>
                  </a:lnTo>
                  <a:lnTo>
                    <a:pt x="265" y="62"/>
                  </a:lnTo>
                  <a:lnTo>
                    <a:pt x="258" y="40"/>
                  </a:lnTo>
                  <a:lnTo>
                    <a:pt x="263" y="19"/>
                  </a:lnTo>
                  <a:lnTo>
                    <a:pt x="279" y="4"/>
                  </a:lnTo>
                  <a:lnTo>
                    <a:pt x="319" y="0"/>
                  </a:lnTo>
                  <a:lnTo>
                    <a:pt x="380" y="21"/>
                  </a:lnTo>
                  <a:lnTo>
                    <a:pt x="402" y="25"/>
                  </a:lnTo>
                  <a:lnTo>
                    <a:pt x="435" y="27"/>
                  </a:lnTo>
                  <a:lnTo>
                    <a:pt x="445" y="25"/>
                  </a:lnTo>
                  <a:lnTo>
                    <a:pt x="445" y="24"/>
                  </a:lnTo>
                  <a:lnTo>
                    <a:pt x="503" y="66"/>
                  </a:lnTo>
                  <a:lnTo>
                    <a:pt x="486" y="90"/>
                  </a:lnTo>
                  <a:lnTo>
                    <a:pt x="490" y="98"/>
                  </a:lnTo>
                  <a:lnTo>
                    <a:pt x="499" y="96"/>
                  </a:lnTo>
                  <a:lnTo>
                    <a:pt x="520" y="86"/>
                  </a:lnTo>
                  <a:lnTo>
                    <a:pt x="531" y="84"/>
                  </a:lnTo>
                  <a:lnTo>
                    <a:pt x="578" y="82"/>
                  </a:lnTo>
                  <a:lnTo>
                    <a:pt x="623" y="88"/>
                  </a:lnTo>
                  <a:lnTo>
                    <a:pt x="658" y="111"/>
                  </a:lnTo>
                  <a:lnTo>
                    <a:pt x="685" y="145"/>
                  </a:lnTo>
                  <a:lnTo>
                    <a:pt x="716" y="172"/>
                  </a:lnTo>
                  <a:lnTo>
                    <a:pt x="729" y="207"/>
                  </a:lnTo>
                  <a:lnTo>
                    <a:pt x="718" y="243"/>
                  </a:lnTo>
                  <a:lnTo>
                    <a:pt x="716" y="279"/>
                  </a:lnTo>
                  <a:lnTo>
                    <a:pt x="701" y="290"/>
                  </a:lnTo>
                  <a:lnTo>
                    <a:pt x="687" y="301"/>
                  </a:lnTo>
                  <a:lnTo>
                    <a:pt x="675" y="317"/>
                  </a:lnTo>
                  <a:lnTo>
                    <a:pt x="665" y="334"/>
                  </a:lnTo>
                  <a:lnTo>
                    <a:pt x="655" y="386"/>
                  </a:lnTo>
                  <a:lnTo>
                    <a:pt x="656" y="406"/>
                  </a:lnTo>
                  <a:lnTo>
                    <a:pt x="653" y="456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19" name="Bayelsa"/>
            <p:cNvSpPr>
              <a:spLocks/>
            </p:cNvSpPr>
            <p:nvPr/>
          </p:nvSpPr>
          <p:spPr bwMode="auto">
            <a:xfrm>
              <a:off x="-8323430" y="5937658"/>
              <a:ext cx="650005" cy="546482"/>
            </a:xfrm>
            <a:custGeom>
              <a:avLst/>
              <a:gdLst>
                <a:gd name="T0" fmla="*/ 396 w 402"/>
                <a:gd name="T1" fmla="*/ 256 h 338"/>
                <a:gd name="T2" fmla="*/ 394 w 402"/>
                <a:gd name="T3" fmla="*/ 292 h 338"/>
                <a:gd name="T4" fmla="*/ 387 w 402"/>
                <a:gd name="T5" fmla="*/ 261 h 338"/>
                <a:gd name="T6" fmla="*/ 384 w 402"/>
                <a:gd name="T7" fmla="*/ 284 h 338"/>
                <a:gd name="T8" fmla="*/ 394 w 402"/>
                <a:gd name="T9" fmla="*/ 315 h 338"/>
                <a:gd name="T10" fmla="*/ 369 w 402"/>
                <a:gd name="T11" fmla="*/ 317 h 338"/>
                <a:gd name="T12" fmla="*/ 360 w 402"/>
                <a:gd name="T13" fmla="*/ 266 h 338"/>
                <a:gd name="T14" fmla="*/ 357 w 402"/>
                <a:gd name="T15" fmla="*/ 308 h 338"/>
                <a:gd name="T16" fmla="*/ 312 w 402"/>
                <a:gd name="T17" fmla="*/ 315 h 338"/>
                <a:gd name="T18" fmla="*/ 291 w 402"/>
                <a:gd name="T19" fmla="*/ 326 h 338"/>
                <a:gd name="T20" fmla="*/ 265 w 402"/>
                <a:gd name="T21" fmla="*/ 310 h 338"/>
                <a:gd name="T22" fmla="*/ 274 w 402"/>
                <a:gd name="T23" fmla="*/ 288 h 338"/>
                <a:gd name="T24" fmla="*/ 256 w 402"/>
                <a:gd name="T25" fmla="*/ 275 h 338"/>
                <a:gd name="T26" fmla="*/ 255 w 402"/>
                <a:gd name="T27" fmla="*/ 290 h 338"/>
                <a:gd name="T28" fmla="*/ 255 w 402"/>
                <a:gd name="T29" fmla="*/ 303 h 338"/>
                <a:gd name="T30" fmla="*/ 245 w 402"/>
                <a:gd name="T31" fmla="*/ 324 h 338"/>
                <a:gd name="T32" fmla="*/ 252 w 402"/>
                <a:gd name="T33" fmla="*/ 329 h 338"/>
                <a:gd name="T34" fmla="*/ 222 w 402"/>
                <a:gd name="T35" fmla="*/ 335 h 338"/>
                <a:gd name="T36" fmla="*/ 210 w 402"/>
                <a:gd name="T37" fmla="*/ 329 h 338"/>
                <a:gd name="T38" fmla="*/ 216 w 402"/>
                <a:gd name="T39" fmla="*/ 307 h 338"/>
                <a:gd name="T40" fmla="*/ 205 w 402"/>
                <a:gd name="T41" fmla="*/ 295 h 338"/>
                <a:gd name="T42" fmla="*/ 199 w 402"/>
                <a:gd name="T43" fmla="*/ 306 h 338"/>
                <a:gd name="T44" fmla="*/ 204 w 402"/>
                <a:gd name="T45" fmla="*/ 324 h 338"/>
                <a:gd name="T46" fmla="*/ 187 w 402"/>
                <a:gd name="T47" fmla="*/ 325 h 338"/>
                <a:gd name="T48" fmla="*/ 182 w 402"/>
                <a:gd name="T49" fmla="*/ 305 h 338"/>
                <a:gd name="T50" fmla="*/ 178 w 402"/>
                <a:gd name="T51" fmla="*/ 304 h 338"/>
                <a:gd name="T52" fmla="*/ 174 w 402"/>
                <a:gd name="T53" fmla="*/ 320 h 338"/>
                <a:gd name="T54" fmla="*/ 152 w 402"/>
                <a:gd name="T55" fmla="*/ 308 h 338"/>
                <a:gd name="T56" fmla="*/ 139 w 402"/>
                <a:gd name="T57" fmla="*/ 289 h 338"/>
                <a:gd name="T58" fmla="*/ 119 w 402"/>
                <a:gd name="T59" fmla="*/ 283 h 338"/>
                <a:gd name="T60" fmla="*/ 121 w 402"/>
                <a:gd name="T61" fmla="*/ 279 h 338"/>
                <a:gd name="T62" fmla="*/ 101 w 402"/>
                <a:gd name="T63" fmla="*/ 263 h 338"/>
                <a:gd name="T64" fmla="*/ 52 w 402"/>
                <a:gd name="T65" fmla="*/ 204 h 338"/>
                <a:gd name="T66" fmla="*/ 44 w 402"/>
                <a:gd name="T67" fmla="*/ 191 h 338"/>
                <a:gd name="T68" fmla="*/ 37 w 402"/>
                <a:gd name="T69" fmla="*/ 171 h 338"/>
                <a:gd name="T70" fmla="*/ 13 w 402"/>
                <a:gd name="T71" fmla="*/ 111 h 338"/>
                <a:gd name="T72" fmla="*/ 4 w 402"/>
                <a:gd name="T73" fmla="*/ 89 h 338"/>
                <a:gd name="T74" fmla="*/ 11 w 402"/>
                <a:gd name="T75" fmla="*/ 76 h 338"/>
                <a:gd name="T76" fmla="*/ 23 w 402"/>
                <a:gd name="T77" fmla="*/ 78 h 338"/>
                <a:gd name="T78" fmla="*/ 77 w 402"/>
                <a:gd name="T79" fmla="*/ 111 h 338"/>
                <a:gd name="T80" fmla="*/ 115 w 402"/>
                <a:gd name="T81" fmla="*/ 97 h 338"/>
                <a:gd name="T82" fmla="*/ 147 w 402"/>
                <a:gd name="T83" fmla="*/ 91 h 338"/>
                <a:gd name="T84" fmla="*/ 186 w 402"/>
                <a:gd name="T85" fmla="*/ 84 h 338"/>
                <a:gd name="T86" fmla="*/ 217 w 402"/>
                <a:gd name="T87" fmla="*/ 72 h 338"/>
                <a:gd name="T88" fmla="*/ 233 w 402"/>
                <a:gd name="T89" fmla="*/ 72 h 338"/>
                <a:gd name="T90" fmla="*/ 249 w 402"/>
                <a:gd name="T91" fmla="*/ 60 h 338"/>
                <a:gd name="T92" fmla="*/ 254 w 402"/>
                <a:gd name="T93" fmla="*/ 41 h 338"/>
                <a:gd name="T94" fmla="*/ 273 w 402"/>
                <a:gd name="T95" fmla="*/ 30 h 338"/>
                <a:gd name="T96" fmla="*/ 290 w 402"/>
                <a:gd name="T97" fmla="*/ 15 h 338"/>
                <a:gd name="T98" fmla="*/ 369 w 402"/>
                <a:gd name="T99" fmla="*/ 13 h 338"/>
                <a:gd name="T100" fmla="*/ 367 w 402"/>
                <a:gd name="T101" fmla="*/ 22 h 338"/>
                <a:gd name="T102" fmla="*/ 358 w 402"/>
                <a:gd name="T103" fmla="*/ 31 h 338"/>
                <a:gd name="T104" fmla="*/ 328 w 402"/>
                <a:gd name="T105" fmla="*/ 68 h 338"/>
                <a:gd name="T106" fmla="*/ 315 w 402"/>
                <a:gd name="T107" fmla="*/ 99 h 338"/>
                <a:gd name="T108" fmla="*/ 317 w 402"/>
                <a:gd name="T109" fmla="*/ 123 h 338"/>
                <a:gd name="T110" fmla="*/ 305 w 402"/>
                <a:gd name="T111" fmla="*/ 152 h 338"/>
                <a:gd name="T112" fmla="*/ 316 w 402"/>
                <a:gd name="T113" fmla="*/ 185 h 338"/>
                <a:gd name="T114" fmla="*/ 355 w 402"/>
                <a:gd name="T115" fmla="*/ 19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2" h="338">
                  <a:moveTo>
                    <a:pt x="390" y="232"/>
                  </a:moveTo>
                  <a:lnTo>
                    <a:pt x="399" y="237"/>
                  </a:lnTo>
                  <a:lnTo>
                    <a:pt x="402" y="242"/>
                  </a:lnTo>
                  <a:lnTo>
                    <a:pt x="401" y="244"/>
                  </a:lnTo>
                  <a:lnTo>
                    <a:pt x="396" y="256"/>
                  </a:lnTo>
                  <a:lnTo>
                    <a:pt x="394" y="270"/>
                  </a:lnTo>
                  <a:lnTo>
                    <a:pt x="396" y="280"/>
                  </a:lnTo>
                  <a:lnTo>
                    <a:pt x="395" y="283"/>
                  </a:lnTo>
                  <a:lnTo>
                    <a:pt x="395" y="289"/>
                  </a:lnTo>
                  <a:lnTo>
                    <a:pt x="394" y="292"/>
                  </a:lnTo>
                  <a:lnTo>
                    <a:pt x="392" y="286"/>
                  </a:lnTo>
                  <a:lnTo>
                    <a:pt x="390" y="282"/>
                  </a:lnTo>
                  <a:lnTo>
                    <a:pt x="390" y="262"/>
                  </a:lnTo>
                  <a:lnTo>
                    <a:pt x="388" y="259"/>
                  </a:lnTo>
                  <a:lnTo>
                    <a:pt x="387" y="261"/>
                  </a:lnTo>
                  <a:lnTo>
                    <a:pt x="386" y="263"/>
                  </a:lnTo>
                  <a:lnTo>
                    <a:pt x="384" y="264"/>
                  </a:lnTo>
                  <a:lnTo>
                    <a:pt x="382" y="265"/>
                  </a:lnTo>
                  <a:lnTo>
                    <a:pt x="384" y="269"/>
                  </a:lnTo>
                  <a:lnTo>
                    <a:pt x="384" y="284"/>
                  </a:lnTo>
                  <a:lnTo>
                    <a:pt x="385" y="289"/>
                  </a:lnTo>
                  <a:lnTo>
                    <a:pt x="389" y="295"/>
                  </a:lnTo>
                  <a:lnTo>
                    <a:pt x="391" y="301"/>
                  </a:lnTo>
                  <a:lnTo>
                    <a:pt x="394" y="311"/>
                  </a:lnTo>
                  <a:lnTo>
                    <a:pt x="394" y="315"/>
                  </a:lnTo>
                  <a:lnTo>
                    <a:pt x="392" y="318"/>
                  </a:lnTo>
                  <a:lnTo>
                    <a:pt x="389" y="320"/>
                  </a:lnTo>
                  <a:lnTo>
                    <a:pt x="380" y="320"/>
                  </a:lnTo>
                  <a:lnTo>
                    <a:pt x="371" y="320"/>
                  </a:lnTo>
                  <a:lnTo>
                    <a:pt x="369" y="317"/>
                  </a:lnTo>
                  <a:lnTo>
                    <a:pt x="366" y="308"/>
                  </a:lnTo>
                  <a:lnTo>
                    <a:pt x="365" y="299"/>
                  </a:lnTo>
                  <a:lnTo>
                    <a:pt x="365" y="286"/>
                  </a:lnTo>
                  <a:lnTo>
                    <a:pt x="364" y="274"/>
                  </a:lnTo>
                  <a:lnTo>
                    <a:pt x="360" y="266"/>
                  </a:lnTo>
                  <a:lnTo>
                    <a:pt x="351" y="267"/>
                  </a:lnTo>
                  <a:lnTo>
                    <a:pt x="359" y="274"/>
                  </a:lnTo>
                  <a:lnTo>
                    <a:pt x="362" y="285"/>
                  </a:lnTo>
                  <a:lnTo>
                    <a:pt x="361" y="297"/>
                  </a:lnTo>
                  <a:lnTo>
                    <a:pt x="357" y="308"/>
                  </a:lnTo>
                  <a:lnTo>
                    <a:pt x="356" y="318"/>
                  </a:lnTo>
                  <a:lnTo>
                    <a:pt x="342" y="322"/>
                  </a:lnTo>
                  <a:lnTo>
                    <a:pt x="324" y="321"/>
                  </a:lnTo>
                  <a:lnTo>
                    <a:pt x="316" y="315"/>
                  </a:lnTo>
                  <a:lnTo>
                    <a:pt x="312" y="315"/>
                  </a:lnTo>
                  <a:lnTo>
                    <a:pt x="308" y="316"/>
                  </a:lnTo>
                  <a:lnTo>
                    <a:pt x="310" y="323"/>
                  </a:lnTo>
                  <a:lnTo>
                    <a:pt x="305" y="325"/>
                  </a:lnTo>
                  <a:lnTo>
                    <a:pt x="298" y="325"/>
                  </a:lnTo>
                  <a:lnTo>
                    <a:pt x="291" y="326"/>
                  </a:lnTo>
                  <a:lnTo>
                    <a:pt x="286" y="329"/>
                  </a:lnTo>
                  <a:lnTo>
                    <a:pt x="272" y="329"/>
                  </a:lnTo>
                  <a:lnTo>
                    <a:pt x="267" y="332"/>
                  </a:lnTo>
                  <a:lnTo>
                    <a:pt x="260" y="323"/>
                  </a:lnTo>
                  <a:lnTo>
                    <a:pt x="265" y="310"/>
                  </a:lnTo>
                  <a:lnTo>
                    <a:pt x="285" y="288"/>
                  </a:lnTo>
                  <a:lnTo>
                    <a:pt x="281" y="288"/>
                  </a:lnTo>
                  <a:lnTo>
                    <a:pt x="279" y="287"/>
                  </a:lnTo>
                  <a:lnTo>
                    <a:pt x="277" y="287"/>
                  </a:lnTo>
                  <a:lnTo>
                    <a:pt x="274" y="288"/>
                  </a:lnTo>
                  <a:lnTo>
                    <a:pt x="264" y="300"/>
                  </a:lnTo>
                  <a:lnTo>
                    <a:pt x="263" y="285"/>
                  </a:lnTo>
                  <a:lnTo>
                    <a:pt x="258" y="269"/>
                  </a:lnTo>
                  <a:lnTo>
                    <a:pt x="257" y="269"/>
                  </a:lnTo>
                  <a:lnTo>
                    <a:pt x="256" y="275"/>
                  </a:lnTo>
                  <a:lnTo>
                    <a:pt x="257" y="283"/>
                  </a:lnTo>
                  <a:lnTo>
                    <a:pt x="258" y="291"/>
                  </a:lnTo>
                  <a:lnTo>
                    <a:pt x="260" y="296"/>
                  </a:lnTo>
                  <a:lnTo>
                    <a:pt x="257" y="293"/>
                  </a:lnTo>
                  <a:lnTo>
                    <a:pt x="255" y="290"/>
                  </a:lnTo>
                  <a:lnTo>
                    <a:pt x="251" y="287"/>
                  </a:lnTo>
                  <a:lnTo>
                    <a:pt x="245" y="286"/>
                  </a:lnTo>
                  <a:lnTo>
                    <a:pt x="248" y="293"/>
                  </a:lnTo>
                  <a:lnTo>
                    <a:pt x="252" y="298"/>
                  </a:lnTo>
                  <a:lnTo>
                    <a:pt x="255" y="303"/>
                  </a:lnTo>
                  <a:lnTo>
                    <a:pt x="254" y="310"/>
                  </a:lnTo>
                  <a:lnTo>
                    <a:pt x="252" y="316"/>
                  </a:lnTo>
                  <a:lnTo>
                    <a:pt x="249" y="321"/>
                  </a:lnTo>
                  <a:lnTo>
                    <a:pt x="248" y="323"/>
                  </a:lnTo>
                  <a:lnTo>
                    <a:pt x="245" y="324"/>
                  </a:lnTo>
                  <a:lnTo>
                    <a:pt x="243" y="325"/>
                  </a:lnTo>
                  <a:lnTo>
                    <a:pt x="243" y="329"/>
                  </a:lnTo>
                  <a:lnTo>
                    <a:pt x="246" y="328"/>
                  </a:lnTo>
                  <a:lnTo>
                    <a:pt x="248" y="328"/>
                  </a:lnTo>
                  <a:lnTo>
                    <a:pt x="252" y="329"/>
                  </a:lnTo>
                  <a:lnTo>
                    <a:pt x="250" y="332"/>
                  </a:lnTo>
                  <a:lnTo>
                    <a:pt x="242" y="335"/>
                  </a:lnTo>
                  <a:lnTo>
                    <a:pt x="231" y="336"/>
                  </a:lnTo>
                  <a:lnTo>
                    <a:pt x="223" y="334"/>
                  </a:lnTo>
                  <a:lnTo>
                    <a:pt x="222" y="335"/>
                  </a:lnTo>
                  <a:lnTo>
                    <a:pt x="220" y="336"/>
                  </a:lnTo>
                  <a:lnTo>
                    <a:pt x="219" y="338"/>
                  </a:lnTo>
                  <a:lnTo>
                    <a:pt x="214" y="336"/>
                  </a:lnTo>
                  <a:lnTo>
                    <a:pt x="212" y="333"/>
                  </a:lnTo>
                  <a:lnTo>
                    <a:pt x="210" y="329"/>
                  </a:lnTo>
                  <a:lnTo>
                    <a:pt x="210" y="323"/>
                  </a:lnTo>
                  <a:lnTo>
                    <a:pt x="212" y="317"/>
                  </a:lnTo>
                  <a:lnTo>
                    <a:pt x="216" y="311"/>
                  </a:lnTo>
                  <a:lnTo>
                    <a:pt x="217" y="307"/>
                  </a:lnTo>
                  <a:lnTo>
                    <a:pt x="216" y="307"/>
                  </a:lnTo>
                  <a:lnTo>
                    <a:pt x="210" y="308"/>
                  </a:lnTo>
                  <a:lnTo>
                    <a:pt x="210" y="304"/>
                  </a:lnTo>
                  <a:lnTo>
                    <a:pt x="212" y="296"/>
                  </a:lnTo>
                  <a:lnTo>
                    <a:pt x="208" y="295"/>
                  </a:lnTo>
                  <a:lnTo>
                    <a:pt x="205" y="295"/>
                  </a:lnTo>
                  <a:lnTo>
                    <a:pt x="201" y="293"/>
                  </a:lnTo>
                  <a:lnTo>
                    <a:pt x="198" y="294"/>
                  </a:lnTo>
                  <a:lnTo>
                    <a:pt x="197" y="297"/>
                  </a:lnTo>
                  <a:lnTo>
                    <a:pt x="197" y="301"/>
                  </a:lnTo>
                  <a:lnTo>
                    <a:pt x="199" y="306"/>
                  </a:lnTo>
                  <a:lnTo>
                    <a:pt x="200" y="308"/>
                  </a:lnTo>
                  <a:lnTo>
                    <a:pt x="199" y="312"/>
                  </a:lnTo>
                  <a:lnTo>
                    <a:pt x="200" y="315"/>
                  </a:lnTo>
                  <a:lnTo>
                    <a:pt x="203" y="320"/>
                  </a:lnTo>
                  <a:lnTo>
                    <a:pt x="204" y="324"/>
                  </a:lnTo>
                  <a:lnTo>
                    <a:pt x="203" y="331"/>
                  </a:lnTo>
                  <a:lnTo>
                    <a:pt x="201" y="330"/>
                  </a:lnTo>
                  <a:lnTo>
                    <a:pt x="197" y="327"/>
                  </a:lnTo>
                  <a:lnTo>
                    <a:pt x="193" y="326"/>
                  </a:lnTo>
                  <a:lnTo>
                    <a:pt x="187" y="325"/>
                  </a:lnTo>
                  <a:lnTo>
                    <a:pt x="184" y="324"/>
                  </a:lnTo>
                  <a:lnTo>
                    <a:pt x="184" y="312"/>
                  </a:lnTo>
                  <a:lnTo>
                    <a:pt x="185" y="312"/>
                  </a:lnTo>
                  <a:lnTo>
                    <a:pt x="186" y="311"/>
                  </a:lnTo>
                  <a:lnTo>
                    <a:pt x="182" y="305"/>
                  </a:lnTo>
                  <a:lnTo>
                    <a:pt x="182" y="304"/>
                  </a:lnTo>
                  <a:lnTo>
                    <a:pt x="181" y="299"/>
                  </a:lnTo>
                  <a:lnTo>
                    <a:pt x="182" y="294"/>
                  </a:lnTo>
                  <a:lnTo>
                    <a:pt x="180" y="294"/>
                  </a:lnTo>
                  <a:lnTo>
                    <a:pt x="178" y="304"/>
                  </a:lnTo>
                  <a:lnTo>
                    <a:pt x="176" y="303"/>
                  </a:lnTo>
                  <a:lnTo>
                    <a:pt x="172" y="300"/>
                  </a:lnTo>
                  <a:lnTo>
                    <a:pt x="176" y="310"/>
                  </a:lnTo>
                  <a:lnTo>
                    <a:pt x="177" y="315"/>
                  </a:lnTo>
                  <a:lnTo>
                    <a:pt x="174" y="320"/>
                  </a:lnTo>
                  <a:lnTo>
                    <a:pt x="168" y="318"/>
                  </a:lnTo>
                  <a:lnTo>
                    <a:pt x="164" y="315"/>
                  </a:lnTo>
                  <a:lnTo>
                    <a:pt x="160" y="312"/>
                  </a:lnTo>
                  <a:lnTo>
                    <a:pt x="158" y="310"/>
                  </a:lnTo>
                  <a:lnTo>
                    <a:pt x="152" y="308"/>
                  </a:lnTo>
                  <a:lnTo>
                    <a:pt x="145" y="303"/>
                  </a:lnTo>
                  <a:lnTo>
                    <a:pt x="142" y="295"/>
                  </a:lnTo>
                  <a:lnTo>
                    <a:pt x="145" y="288"/>
                  </a:lnTo>
                  <a:lnTo>
                    <a:pt x="142" y="288"/>
                  </a:lnTo>
                  <a:lnTo>
                    <a:pt x="139" y="289"/>
                  </a:lnTo>
                  <a:lnTo>
                    <a:pt x="138" y="291"/>
                  </a:lnTo>
                  <a:lnTo>
                    <a:pt x="139" y="294"/>
                  </a:lnTo>
                  <a:lnTo>
                    <a:pt x="137" y="294"/>
                  </a:lnTo>
                  <a:lnTo>
                    <a:pt x="132" y="289"/>
                  </a:lnTo>
                  <a:lnTo>
                    <a:pt x="119" y="283"/>
                  </a:lnTo>
                  <a:lnTo>
                    <a:pt x="116" y="278"/>
                  </a:lnTo>
                  <a:lnTo>
                    <a:pt x="118" y="279"/>
                  </a:lnTo>
                  <a:lnTo>
                    <a:pt x="122" y="281"/>
                  </a:lnTo>
                  <a:lnTo>
                    <a:pt x="124" y="282"/>
                  </a:lnTo>
                  <a:lnTo>
                    <a:pt x="121" y="279"/>
                  </a:lnTo>
                  <a:lnTo>
                    <a:pt x="118" y="276"/>
                  </a:lnTo>
                  <a:lnTo>
                    <a:pt x="114" y="275"/>
                  </a:lnTo>
                  <a:lnTo>
                    <a:pt x="110" y="273"/>
                  </a:lnTo>
                  <a:lnTo>
                    <a:pt x="103" y="266"/>
                  </a:lnTo>
                  <a:lnTo>
                    <a:pt x="101" y="263"/>
                  </a:lnTo>
                  <a:lnTo>
                    <a:pt x="93" y="255"/>
                  </a:lnTo>
                  <a:lnTo>
                    <a:pt x="91" y="254"/>
                  </a:lnTo>
                  <a:lnTo>
                    <a:pt x="63" y="227"/>
                  </a:lnTo>
                  <a:lnTo>
                    <a:pt x="55" y="216"/>
                  </a:lnTo>
                  <a:lnTo>
                    <a:pt x="52" y="204"/>
                  </a:lnTo>
                  <a:lnTo>
                    <a:pt x="54" y="204"/>
                  </a:lnTo>
                  <a:lnTo>
                    <a:pt x="54" y="205"/>
                  </a:lnTo>
                  <a:lnTo>
                    <a:pt x="56" y="206"/>
                  </a:lnTo>
                  <a:lnTo>
                    <a:pt x="56" y="200"/>
                  </a:lnTo>
                  <a:lnTo>
                    <a:pt x="44" y="191"/>
                  </a:lnTo>
                  <a:lnTo>
                    <a:pt x="39" y="186"/>
                  </a:lnTo>
                  <a:lnTo>
                    <a:pt x="38" y="181"/>
                  </a:lnTo>
                  <a:lnTo>
                    <a:pt x="30" y="168"/>
                  </a:lnTo>
                  <a:lnTo>
                    <a:pt x="27" y="165"/>
                  </a:lnTo>
                  <a:lnTo>
                    <a:pt x="37" y="171"/>
                  </a:lnTo>
                  <a:lnTo>
                    <a:pt x="35" y="164"/>
                  </a:lnTo>
                  <a:lnTo>
                    <a:pt x="25" y="153"/>
                  </a:lnTo>
                  <a:lnTo>
                    <a:pt x="17" y="129"/>
                  </a:lnTo>
                  <a:lnTo>
                    <a:pt x="15" y="116"/>
                  </a:lnTo>
                  <a:lnTo>
                    <a:pt x="13" y="111"/>
                  </a:lnTo>
                  <a:lnTo>
                    <a:pt x="9" y="102"/>
                  </a:lnTo>
                  <a:lnTo>
                    <a:pt x="8" y="98"/>
                  </a:lnTo>
                  <a:lnTo>
                    <a:pt x="7" y="93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2" y="86"/>
                  </a:lnTo>
                  <a:lnTo>
                    <a:pt x="0" y="81"/>
                  </a:lnTo>
                  <a:lnTo>
                    <a:pt x="2" y="78"/>
                  </a:lnTo>
                  <a:lnTo>
                    <a:pt x="6" y="76"/>
                  </a:lnTo>
                  <a:lnTo>
                    <a:pt x="11" y="76"/>
                  </a:lnTo>
                  <a:lnTo>
                    <a:pt x="15" y="78"/>
                  </a:lnTo>
                  <a:lnTo>
                    <a:pt x="18" y="80"/>
                  </a:lnTo>
                  <a:lnTo>
                    <a:pt x="23" y="88"/>
                  </a:lnTo>
                  <a:lnTo>
                    <a:pt x="27" y="90"/>
                  </a:lnTo>
                  <a:lnTo>
                    <a:pt x="23" y="78"/>
                  </a:lnTo>
                  <a:lnTo>
                    <a:pt x="31" y="85"/>
                  </a:lnTo>
                  <a:lnTo>
                    <a:pt x="42" y="92"/>
                  </a:lnTo>
                  <a:lnTo>
                    <a:pt x="56" y="97"/>
                  </a:lnTo>
                  <a:lnTo>
                    <a:pt x="71" y="105"/>
                  </a:lnTo>
                  <a:lnTo>
                    <a:pt x="77" y="111"/>
                  </a:lnTo>
                  <a:lnTo>
                    <a:pt x="84" y="111"/>
                  </a:lnTo>
                  <a:lnTo>
                    <a:pt x="90" y="111"/>
                  </a:lnTo>
                  <a:lnTo>
                    <a:pt x="95" y="111"/>
                  </a:lnTo>
                  <a:lnTo>
                    <a:pt x="105" y="104"/>
                  </a:lnTo>
                  <a:lnTo>
                    <a:pt x="115" y="97"/>
                  </a:lnTo>
                  <a:lnTo>
                    <a:pt x="121" y="96"/>
                  </a:lnTo>
                  <a:lnTo>
                    <a:pt x="126" y="93"/>
                  </a:lnTo>
                  <a:lnTo>
                    <a:pt x="133" y="91"/>
                  </a:lnTo>
                  <a:lnTo>
                    <a:pt x="138" y="92"/>
                  </a:lnTo>
                  <a:lnTo>
                    <a:pt x="147" y="91"/>
                  </a:lnTo>
                  <a:lnTo>
                    <a:pt x="155" y="86"/>
                  </a:lnTo>
                  <a:lnTo>
                    <a:pt x="165" y="73"/>
                  </a:lnTo>
                  <a:lnTo>
                    <a:pt x="170" y="71"/>
                  </a:lnTo>
                  <a:lnTo>
                    <a:pt x="180" y="80"/>
                  </a:lnTo>
                  <a:lnTo>
                    <a:pt x="186" y="84"/>
                  </a:lnTo>
                  <a:lnTo>
                    <a:pt x="192" y="86"/>
                  </a:lnTo>
                  <a:lnTo>
                    <a:pt x="200" y="87"/>
                  </a:lnTo>
                  <a:lnTo>
                    <a:pt x="205" y="84"/>
                  </a:lnTo>
                  <a:lnTo>
                    <a:pt x="214" y="73"/>
                  </a:lnTo>
                  <a:lnTo>
                    <a:pt x="217" y="72"/>
                  </a:lnTo>
                  <a:lnTo>
                    <a:pt x="220" y="72"/>
                  </a:lnTo>
                  <a:lnTo>
                    <a:pt x="224" y="74"/>
                  </a:lnTo>
                  <a:lnTo>
                    <a:pt x="227" y="74"/>
                  </a:lnTo>
                  <a:lnTo>
                    <a:pt x="231" y="73"/>
                  </a:lnTo>
                  <a:lnTo>
                    <a:pt x="233" y="72"/>
                  </a:lnTo>
                  <a:lnTo>
                    <a:pt x="235" y="70"/>
                  </a:lnTo>
                  <a:lnTo>
                    <a:pt x="237" y="68"/>
                  </a:lnTo>
                  <a:lnTo>
                    <a:pt x="244" y="65"/>
                  </a:lnTo>
                  <a:lnTo>
                    <a:pt x="248" y="63"/>
                  </a:lnTo>
                  <a:lnTo>
                    <a:pt x="249" y="60"/>
                  </a:lnTo>
                  <a:lnTo>
                    <a:pt x="249" y="57"/>
                  </a:lnTo>
                  <a:lnTo>
                    <a:pt x="246" y="53"/>
                  </a:lnTo>
                  <a:lnTo>
                    <a:pt x="245" y="50"/>
                  </a:lnTo>
                  <a:lnTo>
                    <a:pt x="248" y="43"/>
                  </a:lnTo>
                  <a:lnTo>
                    <a:pt x="254" y="41"/>
                  </a:lnTo>
                  <a:lnTo>
                    <a:pt x="267" y="41"/>
                  </a:lnTo>
                  <a:lnTo>
                    <a:pt x="272" y="39"/>
                  </a:lnTo>
                  <a:lnTo>
                    <a:pt x="273" y="38"/>
                  </a:lnTo>
                  <a:lnTo>
                    <a:pt x="273" y="34"/>
                  </a:lnTo>
                  <a:lnTo>
                    <a:pt x="273" y="30"/>
                  </a:lnTo>
                  <a:lnTo>
                    <a:pt x="275" y="27"/>
                  </a:lnTo>
                  <a:lnTo>
                    <a:pt x="277" y="24"/>
                  </a:lnTo>
                  <a:lnTo>
                    <a:pt x="279" y="21"/>
                  </a:lnTo>
                  <a:lnTo>
                    <a:pt x="285" y="17"/>
                  </a:lnTo>
                  <a:lnTo>
                    <a:pt x="290" y="15"/>
                  </a:lnTo>
                  <a:lnTo>
                    <a:pt x="329" y="10"/>
                  </a:lnTo>
                  <a:lnTo>
                    <a:pt x="334" y="7"/>
                  </a:lnTo>
                  <a:lnTo>
                    <a:pt x="333" y="0"/>
                  </a:lnTo>
                  <a:lnTo>
                    <a:pt x="361" y="3"/>
                  </a:lnTo>
                  <a:lnTo>
                    <a:pt x="369" y="13"/>
                  </a:lnTo>
                  <a:lnTo>
                    <a:pt x="371" y="14"/>
                  </a:lnTo>
                  <a:lnTo>
                    <a:pt x="371" y="16"/>
                  </a:lnTo>
                  <a:lnTo>
                    <a:pt x="371" y="18"/>
                  </a:lnTo>
                  <a:lnTo>
                    <a:pt x="370" y="19"/>
                  </a:lnTo>
                  <a:lnTo>
                    <a:pt x="367" y="22"/>
                  </a:lnTo>
                  <a:lnTo>
                    <a:pt x="367" y="23"/>
                  </a:lnTo>
                  <a:lnTo>
                    <a:pt x="366" y="24"/>
                  </a:lnTo>
                  <a:lnTo>
                    <a:pt x="360" y="26"/>
                  </a:lnTo>
                  <a:lnTo>
                    <a:pt x="359" y="28"/>
                  </a:lnTo>
                  <a:lnTo>
                    <a:pt x="358" y="31"/>
                  </a:lnTo>
                  <a:lnTo>
                    <a:pt x="356" y="34"/>
                  </a:lnTo>
                  <a:lnTo>
                    <a:pt x="347" y="46"/>
                  </a:lnTo>
                  <a:lnTo>
                    <a:pt x="339" y="51"/>
                  </a:lnTo>
                  <a:lnTo>
                    <a:pt x="332" y="57"/>
                  </a:lnTo>
                  <a:lnTo>
                    <a:pt x="328" y="68"/>
                  </a:lnTo>
                  <a:lnTo>
                    <a:pt x="326" y="81"/>
                  </a:lnTo>
                  <a:lnTo>
                    <a:pt x="324" y="88"/>
                  </a:lnTo>
                  <a:lnTo>
                    <a:pt x="319" y="90"/>
                  </a:lnTo>
                  <a:lnTo>
                    <a:pt x="317" y="93"/>
                  </a:lnTo>
                  <a:lnTo>
                    <a:pt x="315" y="99"/>
                  </a:lnTo>
                  <a:lnTo>
                    <a:pt x="314" y="106"/>
                  </a:lnTo>
                  <a:lnTo>
                    <a:pt x="314" y="113"/>
                  </a:lnTo>
                  <a:lnTo>
                    <a:pt x="314" y="117"/>
                  </a:lnTo>
                  <a:lnTo>
                    <a:pt x="316" y="120"/>
                  </a:lnTo>
                  <a:lnTo>
                    <a:pt x="317" y="123"/>
                  </a:lnTo>
                  <a:lnTo>
                    <a:pt x="320" y="125"/>
                  </a:lnTo>
                  <a:lnTo>
                    <a:pt x="314" y="131"/>
                  </a:lnTo>
                  <a:lnTo>
                    <a:pt x="312" y="137"/>
                  </a:lnTo>
                  <a:lnTo>
                    <a:pt x="311" y="142"/>
                  </a:lnTo>
                  <a:lnTo>
                    <a:pt x="305" y="152"/>
                  </a:lnTo>
                  <a:lnTo>
                    <a:pt x="302" y="162"/>
                  </a:lnTo>
                  <a:lnTo>
                    <a:pt x="301" y="174"/>
                  </a:lnTo>
                  <a:lnTo>
                    <a:pt x="308" y="182"/>
                  </a:lnTo>
                  <a:lnTo>
                    <a:pt x="312" y="184"/>
                  </a:lnTo>
                  <a:lnTo>
                    <a:pt x="316" y="185"/>
                  </a:lnTo>
                  <a:lnTo>
                    <a:pt x="319" y="188"/>
                  </a:lnTo>
                  <a:lnTo>
                    <a:pt x="318" y="195"/>
                  </a:lnTo>
                  <a:lnTo>
                    <a:pt x="321" y="204"/>
                  </a:lnTo>
                  <a:lnTo>
                    <a:pt x="330" y="203"/>
                  </a:lnTo>
                  <a:lnTo>
                    <a:pt x="355" y="194"/>
                  </a:lnTo>
                  <a:lnTo>
                    <a:pt x="373" y="205"/>
                  </a:lnTo>
                  <a:lnTo>
                    <a:pt x="375" y="216"/>
                  </a:lnTo>
                  <a:lnTo>
                    <a:pt x="381" y="225"/>
                  </a:lnTo>
                  <a:lnTo>
                    <a:pt x="390" y="232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0" name="Bauchi"/>
            <p:cNvSpPr>
              <a:spLocks/>
            </p:cNvSpPr>
            <p:nvPr/>
          </p:nvSpPr>
          <p:spPr bwMode="auto">
            <a:xfrm>
              <a:off x="-6712971" y="2482534"/>
              <a:ext cx="1156103" cy="1459980"/>
            </a:xfrm>
            <a:custGeom>
              <a:avLst/>
              <a:gdLst>
                <a:gd name="T0" fmla="*/ 713 w 715"/>
                <a:gd name="T1" fmla="*/ 877 h 903"/>
                <a:gd name="T2" fmla="*/ 652 w 715"/>
                <a:gd name="T3" fmla="*/ 875 h 903"/>
                <a:gd name="T4" fmla="*/ 561 w 715"/>
                <a:gd name="T5" fmla="*/ 903 h 903"/>
                <a:gd name="T6" fmla="*/ 354 w 715"/>
                <a:gd name="T7" fmla="*/ 801 h 903"/>
                <a:gd name="T8" fmla="*/ 336 w 715"/>
                <a:gd name="T9" fmla="*/ 813 h 903"/>
                <a:gd name="T10" fmla="*/ 348 w 715"/>
                <a:gd name="T11" fmla="*/ 850 h 903"/>
                <a:gd name="T12" fmla="*/ 313 w 715"/>
                <a:gd name="T13" fmla="*/ 882 h 903"/>
                <a:gd name="T14" fmla="*/ 242 w 715"/>
                <a:gd name="T15" fmla="*/ 891 h 903"/>
                <a:gd name="T16" fmla="*/ 170 w 715"/>
                <a:gd name="T17" fmla="*/ 859 h 903"/>
                <a:gd name="T18" fmla="*/ 140 w 715"/>
                <a:gd name="T19" fmla="*/ 834 h 903"/>
                <a:gd name="T20" fmla="*/ 150 w 715"/>
                <a:gd name="T21" fmla="*/ 807 h 903"/>
                <a:gd name="T22" fmla="*/ 145 w 715"/>
                <a:gd name="T23" fmla="*/ 753 h 903"/>
                <a:gd name="T24" fmla="*/ 79 w 715"/>
                <a:gd name="T25" fmla="*/ 745 h 903"/>
                <a:gd name="T26" fmla="*/ 72 w 715"/>
                <a:gd name="T27" fmla="*/ 666 h 903"/>
                <a:gd name="T28" fmla="*/ 27 w 715"/>
                <a:gd name="T29" fmla="*/ 651 h 903"/>
                <a:gd name="T30" fmla="*/ 4 w 715"/>
                <a:gd name="T31" fmla="*/ 633 h 903"/>
                <a:gd name="T32" fmla="*/ 14 w 715"/>
                <a:gd name="T33" fmla="*/ 587 h 903"/>
                <a:gd name="T34" fmla="*/ 33 w 715"/>
                <a:gd name="T35" fmla="*/ 532 h 903"/>
                <a:gd name="T36" fmla="*/ 10 w 715"/>
                <a:gd name="T37" fmla="*/ 467 h 903"/>
                <a:gd name="T38" fmla="*/ 39 w 715"/>
                <a:gd name="T39" fmla="*/ 425 h 903"/>
                <a:gd name="T40" fmla="*/ 70 w 715"/>
                <a:gd name="T41" fmla="*/ 393 h 903"/>
                <a:gd name="T42" fmla="*/ 125 w 715"/>
                <a:gd name="T43" fmla="*/ 356 h 903"/>
                <a:gd name="T44" fmla="*/ 159 w 715"/>
                <a:gd name="T45" fmla="*/ 348 h 903"/>
                <a:gd name="T46" fmla="*/ 213 w 715"/>
                <a:gd name="T47" fmla="*/ 362 h 903"/>
                <a:gd name="T48" fmla="*/ 263 w 715"/>
                <a:gd name="T49" fmla="*/ 375 h 903"/>
                <a:gd name="T50" fmla="*/ 335 w 715"/>
                <a:gd name="T51" fmla="*/ 373 h 903"/>
                <a:gd name="T52" fmla="*/ 355 w 715"/>
                <a:gd name="T53" fmla="*/ 422 h 903"/>
                <a:gd name="T54" fmla="*/ 376 w 715"/>
                <a:gd name="T55" fmla="*/ 465 h 903"/>
                <a:gd name="T56" fmla="*/ 446 w 715"/>
                <a:gd name="T57" fmla="*/ 471 h 903"/>
                <a:gd name="T58" fmla="*/ 457 w 715"/>
                <a:gd name="T59" fmla="*/ 435 h 903"/>
                <a:gd name="T60" fmla="*/ 508 w 715"/>
                <a:gd name="T61" fmla="*/ 408 h 903"/>
                <a:gd name="T62" fmla="*/ 462 w 715"/>
                <a:gd name="T63" fmla="*/ 389 h 903"/>
                <a:gd name="T64" fmla="*/ 363 w 715"/>
                <a:gd name="T65" fmla="*/ 335 h 903"/>
                <a:gd name="T66" fmla="*/ 336 w 715"/>
                <a:gd name="T67" fmla="*/ 314 h 903"/>
                <a:gd name="T68" fmla="*/ 340 w 715"/>
                <a:gd name="T69" fmla="*/ 279 h 903"/>
                <a:gd name="T70" fmla="*/ 331 w 715"/>
                <a:gd name="T71" fmla="*/ 237 h 903"/>
                <a:gd name="T72" fmla="*/ 292 w 715"/>
                <a:gd name="T73" fmla="*/ 241 h 903"/>
                <a:gd name="T74" fmla="*/ 301 w 715"/>
                <a:gd name="T75" fmla="*/ 196 h 903"/>
                <a:gd name="T76" fmla="*/ 346 w 715"/>
                <a:gd name="T77" fmla="*/ 182 h 903"/>
                <a:gd name="T78" fmla="*/ 441 w 715"/>
                <a:gd name="T79" fmla="*/ 125 h 903"/>
                <a:gd name="T80" fmla="*/ 467 w 715"/>
                <a:gd name="T81" fmla="*/ 43 h 903"/>
                <a:gd name="T82" fmla="*/ 488 w 715"/>
                <a:gd name="T83" fmla="*/ 19 h 903"/>
                <a:gd name="T84" fmla="*/ 535 w 715"/>
                <a:gd name="T85" fmla="*/ 26 h 903"/>
                <a:gd name="T86" fmla="*/ 613 w 715"/>
                <a:gd name="T87" fmla="*/ 30 h 903"/>
                <a:gd name="T88" fmla="*/ 622 w 715"/>
                <a:gd name="T89" fmla="*/ 77 h 903"/>
                <a:gd name="T90" fmla="*/ 635 w 715"/>
                <a:gd name="T91" fmla="*/ 109 h 903"/>
                <a:gd name="T92" fmla="*/ 647 w 715"/>
                <a:gd name="T93" fmla="*/ 190 h 903"/>
                <a:gd name="T94" fmla="*/ 674 w 715"/>
                <a:gd name="T95" fmla="*/ 350 h 903"/>
                <a:gd name="T96" fmla="*/ 691 w 715"/>
                <a:gd name="T97" fmla="*/ 367 h 903"/>
                <a:gd name="T98" fmla="*/ 651 w 715"/>
                <a:gd name="T99" fmla="*/ 397 h 903"/>
                <a:gd name="T100" fmla="*/ 604 w 715"/>
                <a:gd name="T101" fmla="*/ 431 h 903"/>
                <a:gd name="T102" fmla="*/ 575 w 715"/>
                <a:gd name="T103" fmla="*/ 497 h 903"/>
                <a:gd name="T104" fmla="*/ 553 w 715"/>
                <a:gd name="T105" fmla="*/ 538 h 903"/>
                <a:gd name="T106" fmla="*/ 598 w 715"/>
                <a:gd name="T107" fmla="*/ 596 h 903"/>
                <a:gd name="T108" fmla="*/ 646 w 715"/>
                <a:gd name="T109" fmla="*/ 636 h 903"/>
                <a:gd name="T110" fmla="*/ 646 w 715"/>
                <a:gd name="T111" fmla="*/ 696 h 903"/>
                <a:gd name="T112" fmla="*/ 622 w 715"/>
                <a:gd name="T113" fmla="*/ 740 h 903"/>
                <a:gd name="T114" fmla="*/ 695 w 715"/>
                <a:gd name="T115" fmla="*/ 82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15" h="903">
                  <a:moveTo>
                    <a:pt x="708" y="860"/>
                  </a:moveTo>
                  <a:lnTo>
                    <a:pt x="715" y="869"/>
                  </a:lnTo>
                  <a:lnTo>
                    <a:pt x="713" y="877"/>
                  </a:lnTo>
                  <a:lnTo>
                    <a:pt x="693" y="877"/>
                  </a:lnTo>
                  <a:lnTo>
                    <a:pt x="671" y="872"/>
                  </a:lnTo>
                  <a:lnTo>
                    <a:pt x="652" y="875"/>
                  </a:lnTo>
                  <a:lnTo>
                    <a:pt x="615" y="892"/>
                  </a:lnTo>
                  <a:lnTo>
                    <a:pt x="576" y="893"/>
                  </a:lnTo>
                  <a:lnTo>
                    <a:pt x="561" y="903"/>
                  </a:lnTo>
                  <a:lnTo>
                    <a:pt x="551" y="899"/>
                  </a:lnTo>
                  <a:lnTo>
                    <a:pt x="501" y="869"/>
                  </a:lnTo>
                  <a:lnTo>
                    <a:pt x="354" y="801"/>
                  </a:lnTo>
                  <a:lnTo>
                    <a:pt x="344" y="803"/>
                  </a:lnTo>
                  <a:lnTo>
                    <a:pt x="339" y="806"/>
                  </a:lnTo>
                  <a:lnTo>
                    <a:pt x="336" y="813"/>
                  </a:lnTo>
                  <a:lnTo>
                    <a:pt x="347" y="830"/>
                  </a:lnTo>
                  <a:lnTo>
                    <a:pt x="352" y="840"/>
                  </a:lnTo>
                  <a:lnTo>
                    <a:pt x="348" y="850"/>
                  </a:lnTo>
                  <a:lnTo>
                    <a:pt x="329" y="857"/>
                  </a:lnTo>
                  <a:lnTo>
                    <a:pt x="321" y="864"/>
                  </a:lnTo>
                  <a:lnTo>
                    <a:pt x="313" y="882"/>
                  </a:lnTo>
                  <a:lnTo>
                    <a:pt x="301" y="887"/>
                  </a:lnTo>
                  <a:lnTo>
                    <a:pt x="290" y="889"/>
                  </a:lnTo>
                  <a:lnTo>
                    <a:pt x="242" y="891"/>
                  </a:lnTo>
                  <a:lnTo>
                    <a:pt x="200" y="884"/>
                  </a:lnTo>
                  <a:lnTo>
                    <a:pt x="180" y="878"/>
                  </a:lnTo>
                  <a:lnTo>
                    <a:pt x="170" y="859"/>
                  </a:lnTo>
                  <a:lnTo>
                    <a:pt x="157" y="844"/>
                  </a:lnTo>
                  <a:lnTo>
                    <a:pt x="147" y="841"/>
                  </a:lnTo>
                  <a:lnTo>
                    <a:pt x="140" y="834"/>
                  </a:lnTo>
                  <a:lnTo>
                    <a:pt x="141" y="825"/>
                  </a:lnTo>
                  <a:lnTo>
                    <a:pt x="145" y="815"/>
                  </a:lnTo>
                  <a:lnTo>
                    <a:pt x="150" y="807"/>
                  </a:lnTo>
                  <a:lnTo>
                    <a:pt x="152" y="799"/>
                  </a:lnTo>
                  <a:lnTo>
                    <a:pt x="151" y="774"/>
                  </a:lnTo>
                  <a:lnTo>
                    <a:pt x="145" y="753"/>
                  </a:lnTo>
                  <a:lnTo>
                    <a:pt x="125" y="747"/>
                  </a:lnTo>
                  <a:lnTo>
                    <a:pt x="90" y="752"/>
                  </a:lnTo>
                  <a:lnTo>
                    <a:pt x="79" y="745"/>
                  </a:lnTo>
                  <a:lnTo>
                    <a:pt x="80" y="697"/>
                  </a:lnTo>
                  <a:lnTo>
                    <a:pt x="78" y="682"/>
                  </a:lnTo>
                  <a:lnTo>
                    <a:pt x="72" y="666"/>
                  </a:lnTo>
                  <a:lnTo>
                    <a:pt x="62" y="652"/>
                  </a:lnTo>
                  <a:lnTo>
                    <a:pt x="43" y="648"/>
                  </a:lnTo>
                  <a:lnTo>
                    <a:pt x="27" y="651"/>
                  </a:lnTo>
                  <a:lnTo>
                    <a:pt x="21" y="643"/>
                  </a:lnTo>
                  <a:lnTo>
                    <a:pt x="12" y="637"/>
                  </a:lnTo>
                  <a:lnTo>
                    <a:pt x="4" y="633"/>
                  </a:lnTo>
                  <a:lnTo>
                    <a:pt x="0" y="625"/>
                  </a:lnTo>
                  <a:lnTo>
                    <a:pt x="10" y="606"/>
                  </a:lnTo>
                  <a:lnTo>
                    <a:pt x="14" y="587"/>
                  </a:lnTo>
                  <a:lnTo>
                    <a:pt x="27" y="572"/>
                  </a:lnTo>
                  <a:lnTo>
                    <a:pt x="35" y="552"/>
                  </a:lnTo>
                  <a:lnTo>
                    <a:pt x="33" y="532"/>
                  </a:lnTo>
                  <a:lnTo>
                    <a:pt x="20" y="515"/>
                  </a:lnTo>
                  <a:lnTo>
                    <a:pt x="11" y="493"/>
                  </a:lnTo>
                  <a:lnTo>
                    <a:pt x="10" y="467"/>
                  </a:lnTo>
                  <a:lnTo>
                    <a:pt x="12" y="445"/>
                  </a:lnTo>
                  <a:lnTo>
                    <a:pt x="21" y="426"/>
                  </a:lnTo>
                  <a:lnTo>
                    <a:pt x="39" y="425"/>
                  </a:lnTo>
                  <a:lnTo>
                    <a:pt x="50" y="420"/>
                  </a:lnTo>
                  <a:lnTo>
                    <a:pt x="58" y="412"/>
                  </a:lnTo>
                  <a:lnTo>
                    <a:pt x="70" y="393"/>
                  </a:lnTo>
                  <a:lnTo>
                    <a:pt x="101" y="363"/>
                  </a:lnTo>
                  <a:lnTo>
                    <a:pt x="121" y="353"/>
                  </a:lnTo>
                  <a:lnTo>
                    <a:pt x="125" y="356"/>
                  </a:lnTo>
                  <a:lnTo>
                    <a:pt x="130" y="358"/>
                  </a:lnTo>
                  <a:lnTo>
                    <a:pt x="135" y="357"/>
                  </a:lnTo>
                  <a:lnTo>
                    <a:pt x="159" y="348"/>
                  </a:lnTo>
                  <a:lnTo>
                    <a:pt x="177" y="348"/>
                  </a:lnTo>
                  <a:lnTo>
                    <a:pt x="195" y="353"/>
                  </a:lnTo>
                  <a:lnTo>
                    <a:pt x="213" y="362"/>
                  </a:lnTo>
                  <a:lnTo>
                    <a:pt x="233" y="363"/>
                  </a:lnTo>
                  <a:lnTo>
                    <a:pt x="252" y="360"/>
                  </a:lnTo>
                  <a:lnTo>
                    <a:pt x="263" y="375"/>
                  </a:lnTo>
                  <a:lnTo>
                    <a:pt x="279" y="380"/>
                  </a:lnTo>
                  <a:lnTo>
                    <a:pt x="318" y="377"/>
                  </a:lnTo>
                  <a:lnTo>
                    <a:pt x="335" y="373"/>
                  </a:lnTo>
                  <a:lnTo>
                    <a:pt x="348" y="385"/>
                  </a:lnTo>
                  <a:lnTo>
                    <a:pt x="355" y="403"/>
                  </a:lnTo>
                  <a:lnTo>
                    <a:pt x="355" y="422"/>
                  </a:lnTo>
                  <a:lnTo>
                    <a:pt x="353" y="441"/>
                  </a:lnTo>
                  <a:lnTo>
                    <a:pt x="359" y="458"/>
                  </a:lnTo>
                  <a:lnTo>
                    <a:pt x="376" y="465"/>
                  </a:lnTo>
                  <a:lnTo>
                    <a:pt x="424" y="462"/>
                  </a:lnTo>
                  <a:lnTo>
                    <a:pt x="435" y="467"/>
                  </a:lnTo>
                  <a:lnTo>
                    <a:pt x="446" y="471"/>
                  </a:lnTo>
                  <a:lnTo>
                    <a:pt x="454" y="466"/>
                  </a:lnTo>
                  <a:lnTo>
                    <a:pt x="451" y="455"/>
                  </a:lnTo>
                  <a:lnTo>
                    <a:pt x="457" y="435"/>
                  </a:lnTo>
                  <a:lnTo>
                    <a:pt x="490" y="422"/>
                  </a:lnTo>
                  <a:lnTo>
                    <a:pt x="500" y="416"/>
                  </a:lnTo>
                  <a:lnTo>
                    <a:pt x="508" y="408"/>
                  </a:lnTo>
                  <a:lnTo>
                    <a:pt x="509" y="397"/>
                  </a:lnTo>
                  <a:lnTo>
                    <a:pt x="488" y="391"/>
                  </a:lnTo>
                  <a:lnTo>
                    <a:pt x="462" y="389"/>
                  </a:lnTo>
                  <a:lnTo>
                    <a:pt x="414" y="381"/>
                  </a:lnTo>
                  <a:lnTo>
                    <a:pt x="392" y="373"/>
                  </a:lnTo>
                  <a:lnTo>
                    <a:pt x="363" y="335"/>
                  </a:lnTo>
                  <a:lnTo>
                    <a:pt x="351" y="313"/>
                  </a:lnTo>
                  <a:lnTo>
                    <a:pt x="345" y="314"/>
                  </a:lnTo>
                  <a:lnTo>
                    <a:pt x="336" y="314"/>
                  </a:lnTo>
                  <a:lnTo>
                    <a:pt x="330" y="306"/>
                  </a:lnTo>
                  <a:lnTo>
                    <a:pt x="331" y="297"/>
                  </a:lnTo>
                  <a:lnTo>
                    <a:pt x="340" y="279"/>
                  </a:lnTo>
                  <a:lnTo>
                    <a:pt x="340" y="268"/>
                  </a:lnTo>
                  <a:lnTo>
                    <a:pt x="336" y="247"/>
                  </a:lnTo>
                  <a:lnTo>
                    <a:pt x="331" y="237"/>
                  </a:lnTo>
                  <a:lnTo>
                    <a:pt x="321" y="234"/>
                  </a:lnTo>
                  <a:lnTo>
                    <a:pt x="311" y="236"/>
                  </a:lnTo>
                  <a:lnTo>
                    <a:pt x="292" y="241"/>
                  </a:lnTo>
                  <a:lnTo>
                    <a:pt x="279" y="231"/>
                  </a:lnTo>
                  <a:lnTo>
                    <a:pt x="285" y="210"/>
                  </a:lnTo>
                  <a:lnTo>
                    <a:pt x="301" y="196"/>
                  </a:lnTo>
                  <a:lnTo>
                    <a:pt x="327" y="194"/>
                  </a:lnTo>
                  <a:lnTo>
                    <a:pt x="337" y="188"/>
                  </a:lnTo>
                  <a:lnTo>
                    <a:pt x="346" y="182"/>
                  </a:lnTo>
                  <a:lnTo>
                    <a:pt x="439" y="147"/>
                  </a:lnTo>
                  <a:lnTo>
                    <a:pt x="444" y="137"/>
                  </a:lnTo>
                  <a:lnTo>
                    <a:pt x="441" y="125"/>
                  </a:lnTo>
                  <a:lnTo>
                    <a:pt x="443" y="116"/>
                  </a:lnTo>
                  <a:lnTo>
                    <a:pt x="464" y="55"/>
                  </a:lnTo>
                  <a:lnTo>
                    <a:pt x="467" y="43"/>
                  </a:lnTo>
                  <a:lnTo>
                    <a:pt x="471" y="30"/>
                  </a:lnTo>
                  <a:lnTo>
                    <a:pt x="479" y="22"/>
                  </a:lnTo>
                  <a:lnTo>
                    <a:pt x="488" y="19"/>
                  </a:lnTo>
                  <a:lnTo>
                    <a:pt x="510" y="15"/>
                  </a:lnTo>
                  <a:lnTo>
                    <a:pt x="520" y="21"/>
                  </a:lnTo>
                  <a:lnTo>
                    <a:pt x="535" y="26"/>
                  </a:lnTo>
                  <a:lnTo>
                    <a:pt x="575" y="0"/>
                  </a:lnTo>
                  <a:lnTo>
                    <a:pt x="595" y="13"/>
                  </a:lnTo>
                  <a:lnTo>
                    <a:pt x="613" y="30"/>
                  </a:lnTo>
                  <a:lnTo>
                    <a:pt x="617" y="41"/>
                  </a:lnTo>
                  <a:lnTo>
                    <a:pt x="621" y="64"/>
                  </a:lnTo>
                  <a:lnTo>
                    <a:pt x="622" y="77"/>
                  </a:lnTo>
                  <a:lnTo>
                    <a:pt x="623" y="88"/>
                  </a:lnTo>
                  <a:lnTo>
                    <a:pt x="629" y="97"/>
                  </a:lnTo>
                  <a:lnTo>
                    <a:pt x="635" y="109"/>
                  </a:lnTo>
                  <a:lnTo>
                    <a:pt x="637" y="122"/>
                  </a:lnTo>
                  <a:lnTo>
                    <a:pt x="637" y="142"/>
                  </a:lnTo>
                  <a:lnTo>
                    <a:pt x="647" y="190"/>
                  </a:lnTo>
                  <a:lnTo>
                    <a:pt x="682" y="279"/>
                  </a:lnTo>
                  <a:lnTo>
                    <a:pt x="684" y="304"/>
                  </a:lnTo>
                  <a:lnTo>
                    <a:pt x="674" y="350"/>
                  </a:lnTo>
                  <a:lnTo>
                    <a:pt x="682" y="361"/>
                  </a:lnTo>
                  <a:lnTo>
                    <a:pt x="697" y="363"/>
                  </a:lnTo>
                  <a:lnTo>
                    <a:pt x="691" y="367"/>
                  </a:lnTo>
                  <a:lnTo>
                    <a:pt x="686" y="374"/>
                  </a:lnTo>
                  <a:lnTo>
                    <a:pt x="678" y="381"/>
                  </a:lnTo>
                  <a:lnTo>
                    <a:pt x="651" y="397"/>
                  </a:lnTo>
                  <a:lnTo>
                    <a:pt x="636" y="417"/>
                  </a:lnTo>
                  <a:lnTo>
                    <a:pt x="626" y="424"/>
                  </a:lnTo>
                  <a:lnTo>
                    <a:pt x="604" y="431"/>
                  </a:lnTo>
                  <a:lnTo>
                    <a:pt x="594" y="438"/>
                  </a:lnTo>
                  <a:lnTo>
                    <a:pt x="585" y="461"/>
                  </a:lnTo>
                  <a:lnTo>
                    <a:pt x="575" y="497"/>
                  </a:lnTo>
                  <a:lnTo>
                    <a:pt x="571" y="508"/>
                  </a:lnTo>
                  <a:lnTo>
                    <a:pt x="554" y="530"/>
                  </a:lnTo>
                  <a:lnTo>
                    <a:pt x="553" y="538"/>
                  </a:lnTo>
                  <a:lnTo>
                    <a:pt x="586" y="551"/>
                  </a:lnTo>
                  <a:lnTo>
                    <a:pt x="595" y="573"/>
                  </a:lnTo>
                  <a:lnTo>
                    <a:pt x="598" y="596"/>
                  </a:lnTo>
                  <a:lnTo>
                    <a:pt x="620" y="606"/>
                  </a:lnTo>
                  <a:lnTo>
                    <a:pt x="639" y="618"/>
                  </a:lnTo>
                  <a:lnTo>
                    <a:pt x="646" y="636"/>
                  </a:lnTo>
                  <a:lnTo>
                    <a:pt x="646" y="678"/>
                  </a:lnTo>
                  <a:lnTo>
                    <a:pt x="647" y="686"/>
                  </a:lnTo>
                  <a:lnTo>
                    <a:pt x="646" y="696"/>
                  </a:lnTo>
                  <a:lnTo>
                    <a:pt x="611" y="713"/>
                  </a:lnTo>
                  <a:lnTo>
                    <a:pt x="610" y="723"/>
                  </a:lnTo>
                  <a:lnTo>
                    <a:pt x="622" y="740"/>
                  </a:lnTo>
                  <a:lnTo>
                    <a:pt x="684" y="786"/>
                  </a:lnTo>
                  <a:lnTo>
                    <a:pt x="693" y="805"/>
                  </a:lnTo>
                  <a:lnTo>
                    <a:pt x="695" y="825"/>
                  </a:lnTo>
                  <a:lnTo>
                    <a:pt x="700" y="844"/>
                  </a:lnTo>
                  <a:lnTo>
                    <a:pt x="708" y="860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1" name="Abia"/>
            <p:cNvSpPr>
              <a:spLocks/>
            </p:cNvSpPr>
            <p:nvPr/>
          </p:nvSpPr>
          <p:spPr bwMode="auto">
            <a:xfrm>
              <a:off x="-7458373" y="5632082"/>
              <a:ext cx="386446" cy="586903"/>
            </a:xfrm>
            <a:custGeom>
              <a:avLst/>
              <a:gdLst>
                <a:gd name="T0" fmla="*/ 203 w 239"/>
                <a:gd name="T1" fmla="*/ 96 h 363"/>
                <a:gd name="T2" fmla="*/ 219 w 239"/>
                <a:gd name="T3" fmla="*/ 114 h 363"/>
                <a:gd name="T4" fmla="*/ 224 w 239"/>
                <a:gd name="T5" fmla="*/ 162 h 363"/>
                <a:gd name="T6" fmla="*/ 235 w 239"/>
                <a:gd name="T7" fmla="*/ 200 h 363"/>
                <a:gd name="T8" fmla="*/ 205 w 239"/>
                <a:gd name="T9" fmla="*/ 186 h 363"/>
                <a:gd name="T10" fmla="*/ 177 w 239"/>
                <a:gd name="T11" fmla="*/ 160 h 363"/>
                <a:gd name="T12" fmla="*/ 152 w 239"/>
                <a:gd name="T13" fmla="*/ 148 h 363"/>
                <a:gd name="T14" fmla="*/ 146 w 239"/>
                <a:gd name="T15" fmla="*/ 175 h 363"/>
                <a:gd name="T16" fmla="*/ 137 w 239"/>
                <a:gd name="T17" fmla="*/ 195 h 363"/>
                <a:gd name="T18" fmla="*/ 148 w 239"/>
                <a:gd name="T19" fmla="*/ 203 h 363"/>
                <a:gd name="T20" fmla="*/ 137 w 239"/>
                <a:gd name="T21" fmla="*/ 215 h 363"/>
                <a:gd name="T22" fmla="*/ 109 w 239"/>
                <a:gd name="T23" fmla="*/ 216 h 363"/>
                <a:gd name="T24" fmla="*/ 111 w 239"/>
                <a:gd name="T25" fmla="*/ 228 h 363"/>
                <a:gd name="T26" fmla="*/ 108 w 239"/>
                <a:gd name="T27" fmla="*/ 252 h 363"/>
                <a:gd name="T28" fmla="*/ 109 w 239"/>
                <a:gd name="T29" fmla="*/ 279 h 363"/>
                <a:gd name="T30" fmla="*/ 97 w 239"/>
                <a:gd name="T31" fmla="*/ 303 h 363"/>
                <a:gd name="T32" fmla="*/ 94 w 239"/>
                <a:gd name="T33" fmla="*/ 328 h 363"/>
                <a:gd name="T34" fmla="*/ 91 w 239"/>
                <a:gd name="T35" fmla="*/ 338 h 363"/>
                <a:gd name="T36" fmla="*/ 100 w 239"/>
                <a:gd name="T37" fmla="*/ 363 h 363"/>
                <a:gd name="T38" fmla="*/ 64 w 239"/>
                <a:gd name="T39" fmla="*/ 349 h 363"/>
                <a:gd name="T40" fmla="*/ 41 w 239"/>
                <a:gd name="T41" fmla="*/ 345 h 363"/>
                <a:gd name="T42" fmla="*/ 4 w 239"/>
                <a:gd name="T43" fmla="*/ 346 h 363"/>
                <a:gd name="T44" fmla="*/ 31 w 239"/>
                <a:gd name="T45" fmla="*/ 275 h 363"/>
                <a:gd name="T46" fmla="*/ 27 w 239"/>
                <a:gd name="T47" fmla="*/ 249 h 363"/>
                <a:gd name="T48" fmla="*/ 60 w 239"/>
                <a:gd name="T49" fmla="*/ 173 h 363"/>
                <a:gd name="T50" fmla="*/ 66 w 239"/>
                <a:gd name="T51" fmla="*/ 157 h 363"/>
                <a:gd name="T52" fmla="*/ 72 w 239"/>
                <a:gd name="T53" fmla="*/ 144 h 363"/>
                <a:gd name="T54" fmla="*/ 71 w 239"/>
                <a:gd name="T55" fmla="*/ 127 h 363"/>
                <a:gd name="T56" fmla="*/ 69 w 239"/>
                <a:gd name="T57" fmla="*/ 112 h 363"/>
                <a:gd name="T58" fmla="*/ 68 w 239"/>
                <a:gd name="T59" fmla="*/ 102 h 363"/>
                <a:gd name="T60" fmla="*/ 68 w 239"/>
                <a:gd name="T61" fmla="*/ 55 h 363"/>
                <a:gd name="T62" fmla="*/ 47 w 239"/>
                <a:gd name="T63" fmla="*/ 42 h 363"/>
                <a:gd name="T64" fmla="*/ 26 w 239"/>
                <a:gd name="T65" fmla="*/ 29 h 363"/>
                <a:gd name="T66" fmla="*/ 60 w 239"/>
                <a:gd name="T67" fmla="*/ 0 h 363"/>
                <a:gd name="T68" fmla="*/ 63 w 239"/>
                <a:gd name="T69" fmla="*/ 3 h 363"/>
                <a:gd name="T70" fmla="*/ 91 w 239"/>
                <a:gd name="T71" fmla="*/ 0 h 363"/>
                <a:gd name="T72" fmla="*/ 112 w 239"/>
                <a:gd name="T73" fmla="*/ 33 h 363"/>
                <a:gd name="T74" fmla="*/ 127 w 239"/>
                <a:gd name="T75" fmla="*/ 61 h 363"/>
                <a:gd name="T76" fmla="*/ 187 w 239"/>
                <a:gd name="T77" fmla="*/ 69 h 363"/>
                <a:gd name="T78" fmla="*/ 194 w 239"/>
                <a:gd name="T79" fmla="*/ 8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9" h="363">
                  <a:moveTo>
                    <a:pt x="194" y="88"/>
                  </a:moveTo>
                  <a:lnTo>
                    <a:pt x="203" y="96"/>
                  </a:lnTo>
                  <a:lnTo>
                    <a:pt x="214" y="100"/>
                  </a:lnTo>
                  <a:lnTo>
                    <a:pt x="219" y="114"/>
                  </a:lnTo>
                  <a:lnTo>
                    <a:pt x="217" y="130"/>
                  </a:lnTo>
                  <a:lnTo>
                    <a:pt x="224" y="162"/>
                  </a:lnTo>
                  <a:lnTo>
                    <a:pt x="239" y="190"/>
                  </a:lnTo>
                  <a:lnTo>
                    <a:pt x="235" y="200"/>
                  </a:lnTo>
                  <a:lnTo>
                    <a:pt x="220" y="198"/>
                  </a:lnTo>
                  <a:lnTo>
                    <a:pt x="205" y="186"/>
                  </a:lnTo>
                  <a:lnTo>
                    <a:pt x="188" y="177"/>
                  </a:lnTo>
                  <a:lnTo>
                    <a:pt x="177" y="160"/>
                  </a:lnTo>
                  <a:lnTo>
                    <a:pt x="163" y="150"/>
                  </a:lnTo>
                  <a:lnTo>
                    <a:pt x="152" y="148"/>
                  </a:lnTo>
                  <a:lnTo>
                    <a:pt x="144" y="154"/>
                  </a:lnTo>
                  <a:lnTo>
                    <a:pt x="146" y="175"/>
                  </a:lnTo>
                  <a:lnTo>
                    <a:pt x="137" y="191"/>
                  </a:lnTo>
                  <a:lnTo>
                    <a:pt x="137" y="195"/>
                  </a:lnTo>
                  <a:lnTo>
                    <a:pt x="145" y="197"/>
                  </a:lnTo>
                  <a:lnTo>
                    <a:pt x="148" y="203"/>
                  </a:lnTo>
                  <a:lnTo>
                    <a:pt x="146" y="208"/>
                  </a:lnTo>
                  <a:lnTo>
                    <a:pt x="137" y="215"/>
                  </a:lnTo>
                  <a:lnTo>
                    <a:pt x="122" y="212"/>
                  </a:lnTo>
                  <a:lnTo>
                    <a:pt x="109" y="216"/>
                  </a:lnTo>
                  <a:lnTo>
                    <a:pt x="108" y="222"/>
                  </a:lnTo>
                  <a:lnTo>
                    <a:pt x="111" y="228"/>
                  </a:lnTo>
                  <a:lnTo>
                    <a:pt x="112" y="233"/>
                  </a:lnTo>
                  <a:lnTo>
                    <a:pt x="108" y="252"/>
                  </a:lnTo>
                  <a:lnTo>
                    <a:pt x="107" y="265"/>
                  </a:lnTo>
                  <a:lnTo>
                    <a:pt x="109" y="279"/>
                  </a:lnTo>
                  <a:lnTo>
                    <a:pt x="107" y="292"/>
                  </a:lnTo>
                  <a:lnTo>
                    <a:pt x="97" y="303"/>
                  </a:lnTo>
                  <a:lnTo>
                    <a:pt x="90" y="313"/>
                  </a:lnTo>
                  <a:lnTo>
                    <a:pt x="94" y="328"/>
                  </a:lnTo>
                  <a:lnTo>
                    <a:pt x="92" y="333"/>
                  </a:lnTo>
                  <a:lnTo>
                    <a:pt x="91" y="338"/>
                  </a:lnTo>
                  <a:lnTo>
                    <a:pt x="98" y="350"/>
                  </a:lnTo>
                  <a:lnTo>
                    <a:pt x="100" y="363"/>
                  </a:lnTo>
                  <a:lnTo>
                    <a:pt x="80" y="349"/>
                  </a:lnTo>
                  <a:lnTo>
                    <a:pt x="64" y="349"/>
                  </a:lnTo>
                  <a:lnTo>
                    <a:pt x="52" y="345"/>
                  </a:lnTo>
                  <a:lnTo>
                    <a:pt x="41" y="345"/>
                  </a:lnTo>
                  <a:lnTo>
                    <a:pt x="17" y="350"/>
                  </a:lnTo>
                  <a:lnTo>
                    <a:pt x="4" y="346"/>
                  </a:lnTo>
                  <a:lnTo>
                    <a:pt x="0" y="322"/>
                  </a:lnTo>
                  <a:lnTo>
                    <a:pt x="31" y="275"/>
                  </a:lnTo>
                  <a:lnTo>
                    <a:pt x="32" y="261"/>
                  </a:lnTo>
                  <a:lnTo>
                    <a:pt x="27" y="249"/>
                  </a:lnTo>
                  <a:lnTo>
                    <a:pt x="48" y="186"/>
                  </a:lnTo>
                  <a:lnTo>
                    <a:pt x="60" y="173"/>
                  </a:lnTo>
                  <a:lnTo>
                    <a:pt x="64" y="165"/>
                  </a:lnTo>
                  <a:lnTo>
                    <a:pt x="66" y="157"/>
                  </a:lnTo>
                  <a:lnTo>
                    <a:pt x="70" y="151"/>
                  </a:lnTo>
                  <a:lnTo>
                    <a:pt x="72" y="144"/>
                  </a:lnTo>
                  <a:lnTo>
                    <a:pt x="72" y="136"/>
                  </a:lnTo>
                  <a:lnTo>
                    <a:pt x="71" y="127"/>
                  </a:lnTo>
                  <a:lnTo>
                    <a:pt x="71" y="119"/>
                  </a:lnTo>
                  <a:lnTo>
                    <a:pt x="69" y="112"/>
                  </a:lnTo>
                  <a:lnTo>
                    <a:pt x="66" y="106"/>
                  </a:lnTo>
                  <a:lnTo>
                    <a:pt x="68" y="102"/>
                  </a:lnTo>
                  <a:lnTo>
                    <a:pt x="71" y="88"/>
                  </a:lnTo>
                  <a:lnTo>
                    <a:pt x="68" y="55"/>
                  </a:lnTo>
                  <a:lnTo>
                    <a:pt x="56" y="44"/>
                  </a:lnTo>
                  <a:lnTo>
                    <a:pt x="47" y="42"/>
                  </a:lnTo>
                  <a:lnTo>
                    <a:pt x="32" y="34"/>
                  </a:lnTo>
                  <a:lnTo>
                    <a:pt x="26" y="29"/>
                  </a:lnTo>
                  <a:lnTo>
                    <a:pt x="40" y="12"/>
                  </a:lnTo>
                  <a:lnTo>
                    <a:pt x="60" y="0"/>
                  </a:lnTo>
                  <a:lnTo>
                    <a:pt x="62" y="2"/>
                  </a:lnTo>
                  <a:lnTo>
                    <a:pt x="63" y="3"/>
                  </a:lnTo>
                  <a:lnTo>
                    <a:pt x="77" y="0"/>
                  </a:lnTo>
                  <a:lnTo>
                    <a:pt x="91" y="0"/>
                  </a:lnTo>
                  <a:lnTo>
                    <a:pt x="111" y="15"/>
                  </a:lnTo>
                  <a:lnTo>
                    <a:pt x="112" y="33"/>
                  </a:lnTo>
                  <a:lnTo>
                    <a:pt x="109" y="52"/>
                  </a:lnTo>
                  <a:lnTo>
                    <a:pt x="127" y="61"/>
                  </a:lnTo>
                  <a:lnTo>
                    <a:pt x="170" y="62"/>
                  </a:lnTo>
                  <a:lnTo>
                    <a:pt x="187" y="69"/>
                  </a:lnTo>
                  <a:lnTo>
                    <a:pt x="189" y="79"/>
                  </a:lnTo>
                  <a:lnTo>
                    <a:pt x="194" y="88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2" name="Adamawa"/>
            <p:cNvSpPr>
              <a:spLocks/>
            </p:cNvSpPr>
            <p:nvPr/>
          </p:nvSpPr>
          <p:spPr bwMode="auto">
            <a:xfrm>
              <a:off x="-5396792" y="3240818"/>
              <a:ext cx="1139934" cy="1696035"/>
            </a:xfrm>
            <a:custGeom>
              <a:avLst/>
              <a:gdLst>
                <a:gd name="T0" fmla="*/ 703 w 705"/>
                <a:gd name="T1" fmla="*/ 3 h 1049"/>
                <a:gd name="T2" fmla="*/ 620 w 705"/>
                <a:gd name="T3" fmla="*/ 191 h 1049"/>
                <a:gd name="T4" fmla="*/ 616 w 705"/>
                <a:gd name="T5" fmla="*/ 222 h 1049"/>
                <a:gd name="T6" fmla="*/ 601 w 705"/>
                <a:gd name="T7" fmla="*/ 246 h 1049"/>
                <a:gd name="T8" fmla="*/ 555 w 705"/>
                <a:gd name="T9" fmla="*/ 259 h 1049"/>
                <a:gd name="T10" fmla="*/ 554 w 705"/>
                <a:gd name="T11" fmla="*/ 291 h 1049"/>
                <a:gd name="T12" fmla="*/ 544 w 705"/>
                <a:gd name="T13" fmla="*/ 322 h 1049"/>
                <a:gd name="T14" fmla="*/ 558 w 705"/>
                <a:gd name="T15" fmla="*/ 347 h 1049"/>
                <a:gd name="T16" fmla="*/ 547 w 705"/>
                <a:gd name="T17" fmla="*/ 400 h 1049"/>
                <a:gd name="T18" fmla="*/ 475 w 705"/>
                <a:gd name="T19" fmla="*/ 441 h 1049"/>
                <a:gd name="T20" fmla="*/ 456 w 705"/>
                <a:gd name="T21" fmla="*/ 460 h 1049"/>
                <a:gd name="T22" fmla="*/ 436 w 705"/>
                <a:gd name="T23" fmla="*/ 476 h 1049"/>
                <a:gd name="T24" fmla="*/ 449 w 705"/>
                <a:gd name="T25" fmla="*/ 505 h 1049"/>
                <a:gd name="T26" fmla="*/ 426 w 705"/>
                <a:gd name="T27" fmla="*/ 554 h 1049"/>
                <a:gd name="T28" fmla="*/ 418 w 705"/>
                <a:gd name="T29" fmla="*/ 648 h 1049"/>
                <a:gd name="T30" fmla="*/ 400 w 705"/>
                <a:gd name="T31" fmla="*/ 657 h 1049"/>
                <a:gd name="T32" fmla="*/ 387 w 705"/>
                <a:gd name="T33" fmla="*/ 670 h 1049"/>
                <a:gd name="T34" fmla="*/ 342 w 705"/>
                <a:gd name="T35" fmla="*/ 703 h 1049"/>
                <a:gd name="T36" fmla="*/ 319 w 705"/>
                <a:gd name="T37" fmla="*/ 698 h 1049"/>
                <a:gd name="T38" fmla="*/ 303 w 705"/>
                <a:gd name="T39" fmla="*/ 705 h 1049"/>
                <a:gd name="T40" fmla="*/ 300 w 705"/>
                <a:gd name="T41" fmla="*/ 722 h 1049"/>
                <a:gd name="T42" fmla="*/ 288 w 705"/>
                <a:gd name="T43" fmla="*/ 744 h 1049"/>
                <a:gd name="T44" fmla="*/ 278 w 705"/>
                <a:gd name="T45" fmla="*/ 757 h 1049"/>
                <a:gd name="T46" fmla="*/ 247 w 705"/>
                <a:gd name="T47" fmla="*/ 768 h 1049"/>
                <a:gd name="T48" fmla="*/ 251 w 705"/>
                <a:gd name="T49" fmla="*/ 825 h 1049"/>
                <a:gd name="T50" fmla="*/ 234 w 705"/>
                <a:gd name="T51" fmla="*/ 868 h 1049"/>
                <a:gd name="T52" fmla="*/ 237 w 705"/>
                <a:gd name="T53" fmla="*/ 896 h 1049"/>
                <a:gd name="T54" fmla="*/ 183 w 705"/>
                <a:gd name="T55" fmla="*/ 975 h 1049"/>
                <a:gd name="T56" fmla="*/ 185 w 705"/>
                <a:gd name="T57" fmla="*/ 1012 h 1049"/>
                <a:gd name="T58" fmla="*/ 150 w 705"/>
                <a:gd name="T59" fmla="*/ 1049 h 1049"/>
                <a:gd name="T60" fmla="*/ 135 w 705"/>
                <a:gd name="T61" fmla="*/ 998 h 1049"/>
                <a:gd name="T62" fmla="*/ 84 w 705"/>
                <a:gd name="T63" fmla="*/ 906 h 1049"/>
                <a:gd name="T64" fmla="*/ 51 w 705"/>
                <a:gd name="T65" fmla="*/ 923 h 1049"/>
                <a:gd name="T66" fmla="*/ 13 w 705"/>
                <a:gd name="T67" fmla="*/ 900 h 1049"/>
                <a:gd name="T68" fmla="*/ 38 w 705"/>
                <a:gd name="T69" fmla="*/ 821 h 1049"/>
                <a:gd name="T70" fmla="*/ 138 w 705"/>
                <a:gd name="T71" fmla="*/ 691 h 1049"/>
                <a:gd name="T72" fmla="*/ 156 w 705"/>
                <a:gd name="T73" fmla="*/ 572 h 1049"/>
                <a:gd name="T74" fmla="*/ 129 w 705"/>
                <a:gd name="T75" fmla="*/ 525 h 1049"/>
                <a:gd name="T76" fmla="*/ 92 w 705"/>
                <a:gd name="T77" fmla="*/ 469 h 1049"/>
                <a:gd name="T78" fmla="*/ 36 w 705"/>
                <a:gd name="T79" fmla="*/ 406 h 1049"/>
                <a:gd name="T80" fmla="*/ 156 w 705"/>
                <a:gd name="T81" fmla="*/ 348 h 1049"/>
                <a:gd name="T82" fmla="*/ 212 w 705"/>
                <a:gd name="T83" fmla="*/ 273 h 1049"/>
                <a:gd name="T84" fmla="*/ 320 w 705"/>
                <a:gd name="T85" fmla="*/ 187 h 1049"/>
                <a:gd name="T86" fmla="*/ 380 w 705"/>
                <a:gd name="T87" fmla="*/ 155 h 1049"/>
                <a:gd name="T88" fmla="*/ 432 w 705"/>
                <a:gd name="T89" fmla="*/ 114 h 1049"/>
                <a:gd name="T90" fmla="*/ 520 w 705"/>
                <a:gd name="T91" fmla="*/ 135 h 1049"/>
                <a:gd name="T92" fmla="*/ 583 w 705"/>
                <a:gd name="T93" fmla="*/ 103 h 1049"/>
                <a:gd name="T94" fmla="*/ 607 w 705"/>
                <a:gd name="T95" fmla="*/ 3 h 1049"/>
                <a:gd name="T96" fmla="*/ 635 w 705"/>
                <a:gd name="T97" fmla="*/ 8 h 1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5" h="1049">
                  <a:moveTo>
                    <a:pt x="644" y="10"/>
                  </a:moveTo>
                  <a:lnTo>
                    <a:pt x="688" y="0"/>
                  </a:lnTo>
                  <a:lnTo>
                    <a:pt x="705" y="0"/>
                  </a:lnTo>
                  <a:lnTo>
                    <a:pt x="703" y="3"/>
                  </a:lnTo>
                  <a:lnTo>
                    <a:pt x="650" y="79"/>
                  </a:lnTo>
                  <a:lnTo>
                    <a:pt x="642" y="96"/>
                  </a:lnTo>
                  <a:lnTo>
                    <a:pt x="631" y="133"/>
                  </a:lnTo>
                  <a:lnTo>
                    <a:pt x="620" y="191"/>
                  </a:lnTo>
                  <a:lnTo>
                    <a:pt x="613" y="209"/>
                  </a:lnTo>
                  <a:lnTo>
                    <a:pt x="613" y="213"/>
                  </a:lnTo>
                  <a:lnTo>
                    <a:pt x="615" y="219"/>
                  </a:lnTo>
                  <a:lnTo>
                    <a:pt x="616" y="222"/>
                  </a:lnTo>
                  <a:lnTo>
                    <a:pt x="615" y="227"/>
                  </a:lnTo>
                  <a:lnTo>
                    <a:pt x="610" y="237"/>
                  </a:lnTo>
                  <a:lnTo>
                    <a:pt x="607" y="242"/>
                  </a:lnTo>
                  <a:lnTo>
                    <a:pt x="601" y="246"/>
                  </a:lnTo>
                  <a:lnTo>
                    <a:pt x="594" y="250"/>
                  </a:lnTo>
                  <a:lnTo>
                    <a:pt x="588" y="253"/>
                  </a:lnTo>
                  <a:lnTo>
                    <a:pt x="564" y="255"/>
                  </a:lnTo>
                  <a:lnTo>
                    <a:pt x="555" y="259"/>
                  </a:lnTo>
                  <a:lnTo>
                    <a:pt x="549" y="270"/>
                  </a:lnTo>
                  <a:lnTo>
                    <a:pt x="549" y="276"/>
                  </a:lnTo>
                  <a:lnTo>
                    <a:pt x="553" y="285"/>
                  </a:lnTo>
                  <a:lnTo>
                    <a:pt x="554" y="291"/>
                  </a:lnTo>
                  <a:lnTo>
                    <a:pt x="553" y="298"/>
                  </a:lnTo>
                  <a:lnTo>
                    <a:pt x="546" y="310"/>
                  </a:lnTo>
                  <a:lnTo>
                    <a:pt x="544" y="316"/>
                  </a:lnTo>
                  <a:lnTo>
                    <a:pt x="544" y="322"/>
                  </a:lnTo>
                  <a:lnTo>
                    <a:pt x="547" y="327"/>
                  </a:lnTo>
                  <a:lnTo>
                    <a:pt x="556" y="336"/>
                  </a:lnTo>
                  <a:lnTo>
                    <a:pt x="559" y="342"/>
                  </a:lnTo>
                  <a:lnTo>
                    <a:pt x="558" y="347"/>
                  </a:lnTo>
                  <a:lnTo>
                    <a:pt x="555" y="353"/>
                  </a:lnTo>
                  <a:lnTo>
                    <a:pt x="553" y="360"/>
                  </a:lnTo>
                  <a:lnTo>
                    <a:pt x="549" y="380"/>
                  </a:lnTo>
                  <a:lnTo>
                    <a:pt x="547" y="400"/>
                  </a:lnTo>
                  <a:lnTo>
                    <a:pt x="538" y="420"/>
                  </a:lnTo>
                  <a:lnTo>
                    <a:pt x="519" y="428"/>
                  </a:lnTo>
                  <a:lnTo>
                    <a:pt x="495" y="432"/>
                  </a:lnTo>
                  <a:lnTo>
                    <a:pt x="475" y="441"/>
                  </a:lnTo>
                  <a:lnTo>
                    <a:pt x="471" y="445"/>
                  </a:lnTo>
                  <a:lnTo>
                    <a:pt x="462" y="455"/>
                  </a:lnTo>
                  <a:lnTo>
                    <a:pt x="458" y="459"/>
                  </a:lnTo>
                  <a:lnTo>
                    <a:pt x="456" y="460"/>
                  </a:lnTo>
                  <a:lnTo>
                    <a:pt x="438" y="468"/>
                  </a:lnTo>
                  <a:lnTo>
                    <a:pt x="436" y="470"/>
                  </a:lnTo>
                  <a:lnTo>
                    <a:pt x="434" y="475"/>
                  </a:lnTo>
                  <a:lnTo>
                    <a:pt x="436" y="476"/>
                  </a:lnTo>
                  <a:lnTo>
                    <a:pt x="444" y="478"/>
                  </a:lnTo>
                  <a:lnTo>
                    <a:pt x="447" y="484"/>
                  </a:lnTo>
                  <a:lnTo>
                    <a:pt x="449" y="493"/>
                  </a:lnTo>
                  <a:lnTo>
                    <a:pt x="449" y="505"/>
                  </a:lnTo>
                  <a:lnTo>
                    <a:pt x="448" y="510"/>
                  </a:lnTo>
                  <a:lnTo>
                    <a:pt x="446" y="515"/>
                  </a:lnTo>
                  <a:lnTo>
                    <a:pt x="432" y="540"/>
                  </a:lnTo>
                  <a:lnTo>
                    <a:pt x="426" y="554"/>
                  </a:lnTo>
                  <a:lnTo>
                    <a:pt x="426" y="567"/>
                  </a:lnTo>
                  <a:lnTo>
                    <a:pt x="428" y="578"/>
                  </a:lnTo>
                  <a:lnTo>
                    <a:pt x="422" y="634"/>
                  </a:lnTo>
                  <a:lnTo>
                    <a:pt x="418" y="648"/>
                  </a:lnTo>
                  <a:lnTo>
                    <a:pt x="411" y="656"/>
                  </a:lnTo>
                  <a:lnTo>
                    <a:pt x="407" y="658"/>
                  </a:lnTo>
                  <a:lnTo>
                    <a:pt x="403" y="658"/>
                  </a:lnTo>
                  <a:lnTo>
                    <a:pt x="400" y="657"/>
                  </a:lnTo>
                  <a:lnTo>
                    <a:pt x="396" y="657"/>
                  </a:lnTo>
                  <a:lnTo>
                    <a:pt x="392" y="659"/>
                  </a:lnTo>
                  <a:lnTo>
                    <a:pt x="390" y="662"/>
                  </a:lnTo>
                  <a:lnTo>
                    <a:pt x="387" y="670"/>
                  </a:lnTo>
                  <a:lnTo>
                    <a:pt x="383" y="680"/>
                  </a:lnTo>
                  <a:lnTo>
                    <a:pt x="378" y="686"/>
                  </a:lnTo>
                  <a:lnTo>
                    <a:pt x="347" y="703"/>
                  </a:lnTo>
                  <a:lnTo>
                    <a:pt x="342" y="703"/>
                  </a:lnTo>
                  <a:lnTo>
                    <a:pt x="338" y="703"/>
                  </a:lnTo>
                  <a:lnTo>
                    <a:pt x="328" y="698"/>
                  </a:lnTo>
                  <a:lnTo>
                    <a:pt x="324" y="697"/>
                  </a:lnTo>
                  <a:lnTo>
                    <a:pt x="319" y="698"/>
                  </a:lnTo>
                  <a:lnTo>
                    <a:pt x="315" y="700"/>
                  </a:lnTo>
                  <a:lnTo>
                    <a:pt x="311" y="702"/>
                  </a:lnTo>
                  <a:lnTo>
                    <a:pt x="307" y="704"/>
                  </a:lnTo>
                  <a:lnTo>
                    <a:pt x="303" y="705"/>
                  </a:lnTo>
                  <a:lnTo>
                    <a:pt x="299" y="704"/>
                  </a:lnTo>
                  <a:lnTo>
                    <a:pt x="290" y="701"/>
                  </a:lnTo>
                  <a:lnTo>
                    <a:pt x="293" y="705"/>
                  </a:lnTo>
                  <a:lnTo>
                    <a:pt x="300" y="722"/>
                  </a:lnTo>
                  <a:lnTo>
                    <a:pt x="301" y="726"/>
                  </a:lnTo>
                  <a:lnTo>
                    <a:pt x="301" y="736"/>
                  </a:lnTo>
                  <a:lnTo>
                    <a:pt x="298" y="738"/>
                  </a:lnTo>
                  <a:lnTo>
                    <a:pt x="288" y="744"/>
                  </a:lnTo>
                  <a:lnTo>
                    <a:pt x="286" y="747"/>
                  </a:lnTo>
                  <a:lnTo>
                    <a:pt x="284" y="751"/>
                  </a:lnTo>
                  <a:lnTo>
                    <a:pt x="282" y="754"/>
                  </a:lnTo>
                  <a:lnTo>
                    <a:pt x="278" y="757"/>
                  </a:lnTo>
                  <a:lnTo>
                    <a:pt x="272" y="758"/>
                  </a:lnTo>
                  <a:lnTo>
                    <a:pt x="261" y="756"/>
                  </a:lnTo>
                  <a:lnTo>
                    <a:pt x="254" y="758"/>
                  </a:lnTo>
                  <a:lnTo>
                    <a:pt x="247" y="768"/>
                  </a:lnTo>
                  <a:lnTo>
                    <a:pt x="245" y="781"/>
                  </a:lnTo>
                  <a:lnTo>
                    <a:pt x="245" y="795"/>
                  </a:lnTo>
                  <a:lnTo>
                    <a:pt x="251" y="820"/>
                  </a:lnTo>
                  <a:lnTo>
                    <a:pt x="251" y="825"/>
                  </a:lnTo>
                  <a:lnTo>
                    <a:pt x="247" y="832"/>
                  </a:lnTo>
                  <a:lnTo>
                    <a:pt x="235" y="849"/>
                  </a:lnTo>
                  <a:lnTo>
                    <a:pt x="234" y="857"/>
                  </a:lnTo>
                  <a:lnTo>
                    <a:pt x="234" y="868"/>
                  </a:lnTo>
                  <a:lnTo>
                    <a:pt x="235" y="879"/>
                  </a:lnTo>
                  <a:lnTo>
                    <a:pt x="237" y="887"/>
                  </a:lnTo>
                  <a:lnTo>
                    <a:pt x="238" y="891"/>
                  </a:lnTo>
                  <a:lnTo>
                    <a:pt x="237" y="896"/>
                  </a:lnTo>
                  <a:lnTo>
                    <a:pt x="225" y="908"/>
                  </a:lnTo>
                  <a:lnTo>
                    <a:pt x="195" y="950"/>
                  </a:lnTo>
                  <a:lnTo>
                    <a:pt x="185" y="969"/>
                  </a:lnTo>
                  <a:lnTo>
                    <a:pt x="183" y="975"/>
                  </a:lnTo>
                  <a:lnTo>
                    <a:pt x="182" y="982"/>
                  </a:lnTo>
                  <a:lnTo>
                    <a:pt x="182" y="988"/>
                  </a:lnTo>
                  <a:lnTo>
                    <a:pt x="186" y="1006"/>
                  </a:lnTo>
                  <a:lnTo>
                    <a:pt x="185" y="1012"/>
                  </a:lnTo>
                  <a:lnTo>
                    <a:pt x="182" y="1015"/>
                  </a:lnTo>
                  <a:lnTo>
                    <a:pt x="177" y="1018"/>
                  </a:lnTo>
                  <a:lnTo>
                    <a:pt x="169" y="1031"/>
                  </a:lnTo>
                  <a:lnTo>
                    <a:pt x="150" y="1049"/>
                  </a:lnTo>
                  <a:lnTo>
                    <a:pt x="150" y="1048"/>
                  </a:lnTo>
                  <a:lnTo>
                    <a:pt x="146" y="1033"/>
                  </a:lnTo>
                  <a:lnTo>
                    <a:pt x="139" y="1017"/>
                  </a:lnTo>
                  <a:lnTo>
                    <a:pt x="135" y="998"/>
                  </a:lnTo>
                  <a:lnTo>
                    <a:pt x="135" y="977"/>
                  </a:lnTo>
                  <a:lnTo>
                    <a:pt x="120" y="943"/>
                  </a:lnTo>
                  <a:lnTo>
                    <a:pt x="92" y="915"/>
                  </a:lnTo>
                  <a:lnTo>
                    <a:pt x="84" y="906"/>
                  </a:lnTo>
                  <a:lnTo>
                    <a:pt x="73" y="902"/>
                  </a:lnTo>
                  <a:lnTo>
                    <a:pt x="63" y="906"/>
                  </a:lnTo>
                  <a:lnTo>
                    <a:pt x="58" y="915"/>
                  </a:lnTo>
                  <a:lnTo>
                    <a:pt x="51" y="923"/>
                  </a:lnTo>
                  <a:lnTo>
                    <a:pt x="44" y="930"/>
                  </a:lnTo>
                  <a:lnTo>
                    <a:pt x="33" y="929"/>
                  </a:lnTo>
                  <a:lnTo>
                    <a:pt x="25" y="920"/>
                  </a:lnTo>
                  <a:lnTo>
                    <a:pt x="13" y="900"/>
                  </a:lnTo>
                  <a:lnTo>
                    <a:pt x="0" y="867"/>
                  </a:lnTo>
                  <a:lnTo>
                    <a:pt x="3" y="858"/>
                  </a:lnTo>
                  <a:lnTo>
                    <a:pt x="19" y="838"/>
                  </a:lnTo>
                  <a:lnTo>
                    <a:pt x="38" y="821"/>
                  </a:lnTo>
                  <a:lnTo>
                    <a:pt x="116" y="728"/>
                  </a:lnTo>
                  <a:lnTo>
                    <a:pt x="137" y="712"/>
                  </a:lnTo>
                  <a:lnTo>
                    <a:pt x="140" y="702"/>
                  </a:lnTo>
                  <a:lnTo>
                    <a:pt x="138" y="691"/>
                  </a:lnTo>
                  <a:lnTo>
                    <a:pt x="141" y="670"/>
                  </a:lnTo>
                  <a:lnTo>
                    <a:pt x="171" y="609"/>
                  </a:lnTo>
                  <a:lnTo>
                    <a:pt x="169" y="587"/>
                  </a:lnTo>
                  <a:lnTo>
                    <a:pt x="156" y="572"/>
                  </a:lnTo>
                  <a:lnTo>
                    <a:pt x="137" y="563"/>
                  </a:lnTo>
                  <a:lnTo>
                    <a:pt x="127" y="545"/>
                  </a:lnTo>
                  <a:lnTo>
                    <a:pt x="127" y="535"/>
                  </a:lnTo>
                  <a:lnTo>
                    <a:pt x="129" y="525"/>
                  </a:lnTo>
                  <a:lnTo>
                    <a:pt x="126" y="514"/>
                  </a:lnTo>
                  <a:lnTo>
                    <a:pt x="119" y="506"/>
                  </a:lnTo>
                  <a:lnTo>
                    <a:pt x="109" y="485"/>
                  </a:lnTo>
                  <a:lnTo>
                    <a:pt x="92" y="469"/>
                  </a:lnTo>
                  <a:lnTo>
                    <a:pt x="82" y="466"/>
                  </a:lnTo>
                  <a:lnTo>
                    <a:pt x="71" y="464"/>
                  </a:lnTo>
                  <a:lnTo>
                    <a:pt x="64" y="457"/>
                  </a:lnTo>
                  <a:lnTo>
                    <a:pt x="36" y="406"/>
                  </a:lnTo>
                  <a:lnTo>
                    <a:pt x="64" y="402"/>
                  </a:lnTo>
                  <a:lnTo>
                    <a:pt x="90" y="390"/>
                  </a:lnTo>
                  <a:lnTo>
                    <a:pt x="145" y="357"/>
                  </a:lnTo>
                  <a:lnTo>
                    <a:pt x="156" y="348"/>
                  </a:lnTo>
                  <a:lnTo>
                    <a:pt x="161" y="335"/>
                  </a:lnTo>
                  <a:lnTo>
                    <a:pt x="159" y="295"/>
                  </a:lnTo>
                  <a:lnTo>
                    <a:pt x="163" y="270"/>
                  </a:lnTo>
                  <a:lnTo>
                    <a:pt x="212" y="273"/>
                  </a:lnTo>
                  <a:lnTo>
                    <a:pt x="250" y="246"/>
                  </a:lnTo>
                  <a:lnTo>
                    <a:pt x="280" y="206"/>
                  </a:lnTo>
                  <a:lnTo>
                    <a:pt x="298" y="192"/>
                  </a:lnTo>
                  <a:lnTo>
                    <a:pt x="320" y="187"/>
                  </a:lnTo>
                  <a:lnTo>
                    <a:pt x="344" y="185"/>
                  </a:lnTo>
                  <a:lnTo>
                    <a:pt x="366" y="174"/>
                  </a:lnTo>
                  <a:lnTo>
                    <a:pt x="374" y="165"/>
                  </a:lnTo>
                  <a:lnTo>
                    <a:pt x="380" y="155"/>
                  </a:lnTo>
                  <a:lnTo>
                    <a:pt x="387" y="149"/>
                  </a:lnTo>
                  <a:lnTo>
                    <a:pt x="398" y="149"/>
                  </a:lnTo>
                  <a:lnTo>
                    <a:pt x="415" y="132"/>
                  </a:lnTo>
                  <a:lnTo>
                    <a:pt x="432" y="114"/>
                  </a:lnTo>
                  <a:lnTo>
                    <a:pt x="456" y="109"/>
                  </a:lnTo>
                  <a:lnTo>
                    <a:pt x="483" y="112"/>
                  </a:lnTo>
                  <a:lnTo>
                    <a:pt x="504" y="120"/>
                  </a:lnTo>
                  <a:lnTo>
                    <a:pt x="520" y="135"/>
                  </a:lnTo>
                  <a:lnTo>
                    <a:pt x="537" y="147"/>
                  </a:lnTo>
                  <a:lnTo>
                    <a:pt x="558" y="151"/>
                  </a:lnTo>
                  <a:lnTo>
                    <a:pt x="573" y="143"/>
                  </a:lnTo>
                  <a:lnTo>
                    <a:pt x="583" y="103"/>
                  </a:lnTo>
                  <a:lnTo>
                    <a:pt x="600" y="62"/>
                  </a:lnTo>
                  <a:lnTo>
                    <a:pt x="604" y="41"/>
                  </a:lnTo>
                  <a:lnTo>
                    <a:pt x="604" y="21"/>
                  </a:lnTo>
                  <a:lnTo>
                    <a:pt x="607" y="3"/>
                  </a:lnTo>
                  <a:lnTo>
                    <a:pt x="617" y="2"/>
                  </a:lnTo>
                  <a:lnTo>
                    <a:pt x="621" y="2"/>
                  </a:lnTo>
                  <a:lnTo>
                    <a:pt x="624" y="5"/>
                  </a:lnTo>
                  <a:lnTo>
                    <a:pt x="635" y="8"/>
                  </a:lnTo>
                  <a:lnTo>
                    <a:pt x="644" y="10"/>
                  </a:lnTo>
                  <a:close/>
                </a:path>
              </a:pathLst>
            </a:custGeom>
            <a:solidFill>
              <a:srgbClr val="008000"/>
            </a:solidFill>
            <a:ln w="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3" name="Akwa Ibom"/>
            <p:cNvSpPr>
              <a:spLocks/>
            </p:cNvSpPr>
            <p:nvPr/>
          </p:nvSpPr>
          <p:spPr bwMode="auto">
            <a:xfrm>
              <a:off x="-7312853" y="5871370"/>
              <a:ext cx="434953" cy="501211"/>
            </a:xfrm>
            <a:custGeom>
              <a:avLst/>
              <a:gdLst>
                <a:gd name="T0" fmla="*/ 248 w 269"/>
                <a:gd name="T1" fmla="*/ 224 h 310"/>
                <a:gd name="T2" fmla="*/ 253 w 269"/>
                <a:gd name="T3" fmla="*/ 226 h 310"/>
                <a:gd name="T4" fmla="*/ 262 w 269"/>
                <a:gd name="T5" fmla="*/ 245 h 310"/>
                <a:gd name="T6" fmla="*/ 259 w 269"/>
                <a:gd name="T7" fmla="*/ 253 h 310"/>
                <a:gd name="T8" fmla="*/ 259 w 269"/>
                <a:gd name="T9" fmla="*/ 260 h 310"/>
                <a:gd name="T10" fmla="*/ 265 w 269"/>
                <a:gd name="T11" fmla="*/ 263 h 310"/>
                <a:gd name="T12" fmla="*/ 269 w 269"/>
                <a:gd name="T13" fmla="*/ 272 h 310"/>
                <a:gd name="T14" fmla="*/ 259 w 269"/>
                <a:gd name="T15" fmla="*/ 280 h 310"/>
                <a:gd name="T16" fmla="*/ 251 w 269"/>
                <a:gd name="T17" fmla="*/ 294 h 310"/>
                <a:gd name="T18" fmla="*/ 245 w 269"/>
                <a:gd name="T19" fmla="*/ 296 h 310"/>
                <a:gd name="T20" fmla="*/ 215 w 269"/>
                <a:gd name="T21" fmla="*/ 294 h 310"/>
                <a:gd name="T22" fmla="*/ 177 w 269"/>
                <a:gd name="T23" fmla="*/ 292 h 310"/>
                <a:gd name="T24" fmla="*/ 161 w 269"/>
                <a:gd name="T25" fmla="*/ 297 h 310"/>
                <a:gd name="T26" fmla="*/ 142 w 269"/>
                <a:gd name="T27" fmla="*/ 298 h 310"/>
                <a:gd name="T28" fmla="*/ 87 w 269"/>
                <a:gd name="T29" fmla="*/ 302 h 310"/>
                <a:gd name="T30" fmla="*/ 80 w 269"/>
                <a:gd name="T31" fmla="*/ 303 h 310"/>
                <a:gd name="T32" fmla="*/ 81 w 269"/>
                <a:gd name="T33" fmla="*/ 306 h 310"/>
                <a:gd name="T34" fmla="*/ 88 w 269"/>
                <a:gd name="T35" fmla="*/ 308 h 310"/>
                <a:gd name="T36" fmla="*/ 72 w 269"/>
                <a:gd name="T37" fmla="*/ 310 h 310"/>
                <a:gd name="T38" fmla="*/ 60 w 269"/>
                <a:gd name="T39" fmla="*/ 305 h 310"/>
                <a:gd name="T40" fmla="*/ 29 w 269"/>
                <a:gd name="T41" fmla="*/ 302 h 310"/>
                <a:gd name="T42" fmla="*/ 30 w 269"/>
                <a:gd name="T43" fmla="*/ 300 h 310"/>
                <a:gd name="T44" fmla="*/ 33 w 269"/>
                <a:gd name="T45" fmla="*/ 298 h 310"/>
                <a:gd name="T46" fmla="*/ 25 w 269"/>
                <a:gd name="T47" fmla="*/ 297 h 310"/>
                <a:gd name="T48" fmla="*/ 23 w 269"/>
                <a:gd name="T49" fmla="*/ 294 h 310"/>
                <a:gd name="T50" fmla="*/ 25 w 269"/>
                <a:gd name="T51" fmla="*/ 291 h 310"/>
                <a:gd name="T52" fmla="*/ 29 w 269"/>
                <a:gd name="T53" fmla="*/ 286 h 310"/>
                <a:gd name="T54" fmla="*/ 23 w 269"/>
                <a:gd name="T55" fmla="*/ 278 h 310"/>
                <a:gd name="T56" fmla="*/ 25 w 269"/>
                <a:gd name="T57" fmla="*/ 273 h 310"/>
                <a:gd name="T58" fmla="*/ 21 w 269"/>
                <a:gd name="T59" fmla="*/ 260 h 310"/>
                <a:gd name="T60" fmla="*/ 25 w 269"/>
                <a:gd name="T61" fmla="*/ 247 h 310"/>
                <a:gd name="T62" fmla="*/ 22 w 269"/>
                <a:gd name="T63" fmla="*/ 242 h 310"/>
                <a:gd name="T64" fmla="*/ 14 w 269"/>
                <a:gd name="T65" fmla="*/ 222 h 310"/>
                <a:gd name="T66" fmla="*/ 8 w 269"/>
                <a:gd name="T67" fmla="*/ 202 h 310"/>
                <a:gd name="T68" fmla="*/ 2 w 269"/>
                <a:gd name="T69" fmla="*/ 185 h 310"/>
                <a:gd name="T70" fmla="*/ 0 w 269"/>
                <a:gd name="T71" fmla="*/ 165 h 310"/>
                <a:gd name="T72" fmla="*/ 17 w 269"/>
                <a:gd name="T73" fmla="*/ 144 h 310"/>
                <a:gd name="T74" fmla="*/ 17 w 269"/>
                <a:gd name="T75" fmla="*/ 117 h 310"/>
                <a:gd name="T76" fmla="*/ 22 w 269"/>
                <a:gd name="T77" fmla="*/ 85 h 310"/>
                <a:gd name="T78" fmla="*/ 18 w 269"/>
                <a:gd name="T79" fmla="*/ 74 h 310"/>
                <a:gd name="T80" fmla="*/ 32 w 269"/>
                <a:gd name="T81" fmla="*/ 64 h 310"/>
                <a:gd name="T82" fmla="*/ 56 w 269"/>
                <a:gd name="T83" fmla="*/ 60 h 310"/>
                <a:gd name="T84" fmla="*/ 55 w 269"/>
                <a:gd name="T85" fmla="*/ 49 h 310"/>
                <a:gd name="T86" fmla="*/ 47 w 269"/>
                <a:gd name="T87" fmla="*/ 43 h 310"/>
                <a:gd name="T88" fmla="*/ 54 w 269"/>
                <a:gd name="T89" fmla="*/ 6 h 310"/>
                <a:gd name="T90" fmla="*/ 73 w 269"/>
                <a:gd name="T91" fmla="*/ 2 h 310"/>
                <a:gd name="T92" fmla="*/ 98 w 269"/>
                <a:gd name="T93" fmla="*/ 29 h 310"/>
                <a:gd name="T94" fmla="*/ 130 w 269"/>
                <a:gd name="T95" fmla="*/ 50 h 310"/>
                <a:gd name="T96" fmla="*/ 127 w 269"/>
                <a:gd name="T97" fmla="*/ 72 h 310"/>
                <a:gd name="T98" fmla="*/ 137 w 269"/>
                <a:gd name="T99" fmla="*/ 82 h 310"/>
                <a:gd name="T100" fmla="*/ 162 w 269"/>
                <a:gd name="T101" fmla="*/ 82 h 310"/>
                <a:gd name="T102" fmla="*/ 181 w 269"/>
                <a:gd name="T103" fmla="*/ 95 h 310"/>
                <a:gd name="T104" fmla="*/ 183 w 269"/>
                <a:gd name="T105" fmla="*/ 148 h 310"/>
                <a:gd name="T106" fmla="*/ 201 w 269"/>
                <a:gd name="T107" fmla="*/ 1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9" h="310">
                  <a:moveTo>
                    <a:pt x="236" y="216"/>
                  </a:moveTo>
                  <a:lnTo>
                    <a:pt x="248" y="224"/>
                  </a:lnTo>
                  <a:lnTo>
                    <a:pt x="251" y="225"/>
                  </a:lnTo>
                  <a:lnTo>
                    <a:pt x="253" y="226"/>
                  </a:lnTo>
                  <a:lnTo>
                    <a:pt x="257" y="240"/>
                  </a:lnTo>
                  <a:lnTo>
                    <a:pt x="262" y="245"/>
                  </a:lnTo>
                  <a:lnTo>
                    <a:pt x="261" y="246"/>
                  </a:lnTo>
                  <a:lnTo>
                    <a:pt x="259" y="253"/>
                  </a:lnTo>
                  <a:lnTo>
                    <a:pt x="257" y="256"/>
                  </a:lnTo>
                  <a:lnTo>
                    <a:pt x="259" y="260"/>
                  </a:lnTo>
                  <a:lnTo>
                    <a:pt x="262" y="262"/>
                  </a:lnTo>
                  <a:lnTo>
                    <a:pt x="265" y="263"/>
                  </a:lnTo>
                  <a:lnTo>
                    <a:pt x="268" y="265"/>
                  </a:lnTo>
                  <a:lnTo>
                    <a:pt x="269" y="272"/>
                  </a:lnTo>
                  <a:lnTo>
                    <a:pt x="264" y="277"/>
                  </a:lnTo>
                  <a:lnTo>
                    <a:pt x="259" y="280"/>
                  </a:lnTo>
                  <a:lnTo>
                    <a:pt x="255" y="285"/>
                  </a:lnTo>
                  <a:lnTo>
                    <a:pt x="251" y="294"/>
                  </a:lnTo>
                  <a:lnTo>
                    <a:pt x="248" y="295"/>
                  </a:lnTo>
                  <a:lnTo>
                    <a:pt x="245" y="296"/>
                  </a:lnTo>
                  <a:lnTo>
                    <a:pt x="232" y="296"/>
                  </a:lnTo>
                  <a:lnTo>
                    <a:pt x="215" y="294"/>
                  </a:lnTo>
                  <a:lnTo>
                    <a:pt x="189" y="294"/>
                  </a:lnTo>
                  <a:lnTo>
                    <a:pt x="177" y="292"/>
                  </a:lnTo>
                  <a:lnTo>
                    <a:pt x="171" y="292"/>
                  </a:lnTo>
                  <a:lnTo>
                    <a:pt x="161" y="297"/>
                  </a:lnTo>
                  <a:lnTo>
                    <a:pt x="155" y="298"/>
                  </a:lnTo>
                  <a:lnTo>
                    <a:pt x="142" y="298"/>
                  </a:lnTo>
                  <a:lnTo>
                    <a:pt x="91" y="304"/>
                  </a:lnTo>
                  <a:lnTo>
                    <a:pt x="87" y="302"/>
                  </a:lnTo>
                  <a:lnTo>
                    <a:pt x="84" y="302"/>
                  </a:lnTo>
                  <a:lnTo>
                    <a:pt x="80" y="303"/>
                  </a:lnTo>
                  <a:lnTo>
                    <a:pt x="78" y="306"/>
                  </a:lnTo>
                  <a:lnTo>
                    <a:pt x="81" y="306"/>
                  </a:lnTo>
                  <a:lnTo>
                    <a:pt x="86" y="307"/>
                  </a:lnTo>
                  <a:lnTo>
                    <a:pt x="88" y="308"/>
                  </a:lnTo>
                  <a:lnTo>
                    <a:pt x="82" y="310"/>
                  </a:lnTo>
                  <a:lnTo>
                    <a:pt x="72" y="310"/>
                  </a:lnTo>
                  <a:lnTo>
                    <a:pt x="64" y="309"/>
                  </a:lnTo>
                  <a:lnTo>
                    <a:pt x="60" y="305"/>
                  </a:lnTo>
                  <a:lnTo>
                    <a:pt x="56" y="304"/>
                  </a:lnTo>
                  <a:lnTo>
                    <a:pt x="29" y="302"/>
                  </a:lnTo>
                  <a:lnTo>
                    <a:pt x="29" y="301"/>
                  </a:lnTo>
                  <a:lnTo>
                    <a:pt x="30" y="300"/>
                  </a:lnTo>
                  <a:lnTo>
                    <a:pt x="31" y="299"/>
                  </a:lnTo>
                  <a:lnTo>
                    <a:pt x="33" y="298"/>
                  </a:lnTo>
                  <a:lnTo>
                    <a:pt x="29" y="297"/>
                  </a:lnTo>
                  <a:lnTo>
                    <a:pt x="25" y="297"/>
                  </a:lnTo>
                  <a:lnTo>
                    <a:pt x="23" y="297"/>
                  </a:lnTo>
                  <a:lnTo>
                    <a:pt x="23" y="294"/>
                  </a:lnTo>
                  <a:lnTo>
                    <a:pt x="23" y="292"/>
                  </a:lnTo>
                  <a:lnTo>
                    <a:pt x="25" y="291"/>
                  </a:lnTo>
                  <a:lnTo>
                    <a:pt x="27" y="289"/>
                  </a:lnTo>
                  <a:lnTo>
                    <a:pt x="29" y="286"/>
                  </a:lnTo>
                  <a:lnTo>
                    <a:pt x="28" y="285"/>
                  </a:lnTo>
                  <a:lnTo>
                    <a:pt x="23" y="278"/>
                  </a:lnTo>
                  <a:lnTo>
                    <a:pt x="23" y="277"/>
                  </a:lnTo>
                  <a:lnTo>
                    <a:pt x="25" y="273"/>
                  </a:lnTo>
                  <a:lnTo>
                    <a:pt x="20" y="268"/>
                  </a:lnTo>
                  <a:lnTo>
                    <a:pt x="21" y="260"/>
                  </a:lnTo>
                  <a:lnTo>
                    <a:pt x="27" y="247"/>
                  </a:lnTo>
                  <a:lnTo>
                    <a:pt x="25" y="247"/>
                  </a:lnTo>
                  <a:lnTo>
                    <a:pt x="21" y="249"/>
                  </a:lnTo>
                  <a:lnTo>
                    <a:pt x="22" y="242"/>
                  </a:lnTo>
                  <a:lnTo>
                    <a:pt x="19" y="230"/>
                  </a:lnTo>
                  <a:lnTo>
                    <a:pt x="14" y="222"/>
                  </a:lnTo>
                  <a:lnTo>
                    <a:pt x="10" y="215"/>
                  </a:lnTo>
                  <a:lnTo>
                    <a:pt x="8" y="202"/>
                  </a:lnTo>
                  <a:lnTo>
                    <a:pt x="1" y="190"/>
                  </a:lnTo>
                  <a:lnTo>
                    <a:pt x="2" y="185"/>
                  </a:lnTo>
                  <a:lnTo>
                    <a:pt x="4" y="180"/>
                  </a:lnTo>
                  <a:lnTo>
                    <a:pt x="0" y="165"/>
                  </a:lnTo>
                  <a:lnTo>
                    <a:pt x="7" y="155"/>
                  </a:lnTo>
                  <a:lnTo>
                    <a:pt x="17" y="144"/>
                  </a:lnTo>
                  <a:lnTo>
                    <a:pt x="19" y="131"/>
                  </a:lnTo>
                  <a:lnTo>
                    <a:pt x="17" y="117"/>
                  </a:lnTo>
                  <a:lnTo>
                    <a:pt x="18" y="104"/>
                  </a:lnTo>
                  <a:lnTo>
                    <a:pt x="22" y="85"/>
                  </a:lnTo>
                  <a:lnTo>
                    <a:pt x="21" y="80"/>
                  </a:lnTo>
                  <a:lnTo>
                    <a:pt x="18" y="74"/>
                  </a:lnTo>
                  <a:lnTo>
                    <a:pt x="19" y="68"/>
                  </a:lnTo>
                  <a:lnTo>
                    <a:pt x="32" y="64"/>
                  </a:lnTo>
                  <a:lnTo>
                    <a:pt x="47" y="67"/>
                  </a:lnTo>
                  <a:lnTo>
                    <a:pt x="56" y="60"/>
                  </a:lnTo>
                  <a:lnTo>
                    <a:pt x="58" y="55"/>
                  </a:lnTo>
                  <a:lnTo>
                    <a:pt x="55" y="49"/>
                  </a:lnTo>
                  <a:lnTo>
                    <a:pt x="47" y="47"/>
                  </a:lnTo>
                  <a:lnTo>
                    <a:pt x="47" y="43"/>
                  </a:lnTo>
                  <a:lnTo>
                    <a:pt x="56" y="27"/>
                  </a:lnTo>
                  <a:lnTo>
                    <a:pt x="54" y="6"/>
                  </a:lnTo>
                  <a:lnTo>
                    <a:pt x="62" y="0"/>
                  </a:lnTo>
                  <a:lnTo>
                    <a:pt x="73" y="2"/>
                  </a:lnTo>
                  <a:lnTo>
                    <a:pt x="87" y="12"/>
                  </a:lnTo>
                  <a:lnTo>
                    <a:pt x="98" y="29"/>
                  </a:lnTo>
                  <a:lnTo>
                    <a:pt x="115" y="38"/>
                  </a:lnTo>
                  <a:lnTo>
                    <a:pt x="130" y="50"/>
                  </a:lnTo>
                  <a:lnTo>
                    <a:pt x="122" y="59"/>
                  </a:lnTo>
                  <a:lnTo>
                    <a:pt x="127" y="72"/>
                  </a:lnTo>
                  <a:lnTo>
                    <a:pt x="130" y="78"/>
                  </a:lnTo>
                  <a:lnTo>
                    <a:pt x="137" y="82"/>
                  </a:lnTo>
                  <a:lnTo>
                    <a:pt x="154" y="80"/>
                  </a:lnTo>
                  <a:lnTo>
                    <a:pt x="162" y="82"/>
                  </a:lnTo>
                  <a:lnTo>
                    <a:pt x="176" y="90"/>
                  </a:lnTo>
                  <a:lnTo>
                    <a:pt x="181" y="95"/>
                  </a:lnTo>
                  <a:lnTo>
                    <a:pt x="179" y="132"/>
                  </a:lnTo>
                  <a:lnTo>
                    <a:pt x="183" y="148"/>
                  </a:lnTo>
                  <a:lnTo>
                    <a:pt x="190" y="164"/>
                  </a:lnTo>
                  <a:lnTo>
                    <a:pt x="201" y="179"/>
                  </a:lnTo>
                  <a:lnTo>
                    <a:pt x="236" y="216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4" name="Enugu"/>
            <p:cNvSpPr>
              <a:spLocks/>
            </p:cNvSpPr>
            <p:nvPr/>
          </p:nvSpPr>
          <p:spPr bwMode="auto">
            <a:xfrm>
              <a:off x="-7584495" y="5105002"/>
              <a:ext cx="465674" cy="573968"/>
            </a:xfrm>
            <a:custGeom>
              <a:avLst/>
              <a:gdLst>
                <a:gd name="T0" fmla="*/ 167 w 288"/>
                <a:gd name="T1" fmla="*/ 1 h 355"/>
                <a:gd name="T2" fmla="*/ 181 w 288"/>
                <a:gd name="T3" fmla="*/ 22 h 355"/>
                <a:gd name="T4" fmla="*/ 200 w 288"/>
                <a:gd name="T5" fmla="*/ 56 h 355"/>
                <a:gd name="T6" fmla="*/ 222 w 288"/>
                <a:gd name="T7" fmla="*/ 73 h 355"/>
                <a:gd name="T8" fmla="*/ 245 w 288"/>
                <a:gd name="T9" fmla="*/ 77 h 355"/>
                <a:gd name="T10" fmla="*/ 265 w 288"/>
                <a:gd name="T11" fmla="*/ 68 h 355"/>
                <a:gd name="T12" fmla="*/ 285 w 288"/>
                <a:gd name="T13" fmla="*/ 87 h 355"/>
                <a:gd name="T14" fmla="*/ 288 w 288"/>
                <a:gd name="T15" fmla="*/ 115 h 355"/>
                <a:gd name="T16" fmla="*/ 257 w 288"/>
                <a:gd name="T17" fmla="*/ 145 h 355"/>
                <a:gd name="T18" fmla="*/ 238 w 288"/>
                <a:gd name="T19" fmla="*/ 150 h 355"/>
                <a:gd name="T20" fmla="*/ 249 w 288"/>
                <a:gd name="T21" fmla="*/ 211 h 355"/>
                <a:gd name="T22" fmla="*/ 242 w 288"/>
                <a:gd name="T23" fmla="*/ 259 h 355"/>
                <a:gd name="T24" fmla="*/ 246 w 288"/>
                <a:gd name="T25" fmla="*/ 275 h 355"/>
                <a:gd name="T26" fmla="*/ 248 w 288"/>
                <a:gd name="T27" fmla="*/ 294 h 355"/>
                <a:gd name="T28" fmla="*/ 243 w 288"/>
                <a:gd name="T29" fmla="*/ 312 h 355"/>
                <a:gd name="T30" fmla="*/ 234 w 288"/>
                <a:gd name="T31" fmla="*/ 335 h 355"/>
                <a:gd name="T32" fmla="*/ 229 w 288"/>
                <a:gd name="T33" fmla="*/ 355 h 355"/>
                <a:gd name="T34" fmla="*/ 211 w 288"/>
                <a:gd name="T35" fmla="*/ 341 h 355"/>
                <a:gd name="T36" fmla="*/ 189 w 288"/>
                <a:gd name="T37" fmla="*/ 341 h 355"/>
                <a:gd name="T38" fmla="*/ 155 w 288"/>
                <a:gd name="T39" fmla="*/ 326 h 355"/>
                <a:gd name="T40" fmla="*/ 140 w 288"/>
                <a:gd name="T41" fmla="*/ 328 h 355"/>
                <a:gd name="T42" fmla="*/ 136 w 288"/>
                <a:gd name="T43" fmla="*/ 326 h 355"/>
                <a:gd name="T44" fmla="*/ 128 w 288"/>
                <a:gd name="T45" fmla="*/ 320 h 355"/>
                <a:gd name="T46" fmla="*/ 117 w 288"/>
                <a:gd name="T47" fmla="*/ 321 h 355"/>
                <a:gd name="T48" fmla="*/ 102 w 288"/>
                <a:gd name="T49" fmla="*/ 313 h 355"/>
                <a:gd name="T50" fmla="*/ 94 w 288"/>
                <a:gd name="T51" fmla="*/ 296 h 355"/>
                <a:gd name="T52" fmla="*/ 92 w 288"/>
                <a:gd name="T53" fmla="*/ 276 h 355"/>
                <a:gd name="T54" fmla="*/ 83 w 288"/>
                <a:gd name="T55" fmla="*/ 264 h 355"/>
                <a:gd name="T56" fmla="*/ 74 w 288"/>
                <a:gd name="T57" fmla="*/ 264 h 355"/>
                <a:gd name="T58" fmla="*/ 67 w 288"/>
                <a:gd name="T59" fmla="*/ 261 h 355"/>
                <a:gd name="T60" fmla="*/ 69 w 288"/>
                <a:gd name="T61" fmla="*/ 252 h 355"/>
                <a:gd name="T62" fmla="*/ 71 w 288"/>
                <a:gd name="T63" fmla="*/ 245 h 355"/>
                <a:gd name="T64" fmla="*/ 72 w 288"/>
                <a:gd name="T65" fmla="*/ 240 h 355"/>
                <a:gd name="T66" fmla="*/ 61 w 288"/>
                <a:gd name="T67" fmla="*/ 216 h 355"/>
                <a:gd name="T68" fmla="*/ 50 w 288"/>
                <a:gd name="T69" fmla="*/ 204 h 355"/>
                <a:gd name="T70" fmla="*/ 35 w 288"/>
                <a:gd name="T71" fmla="*/ 200 h 355"/>
                <a:gd name="T72" fmla="*/ 41 w 288"/>
                <a:gd name="T73" fmla="*/ 171 h 355"/>
                <a:gd name="T74" fmla="*/ 59 w 288"/>
                <a:gd name="T75" fmla="*/ 132 h 355"/>
                <a:gd name="T76" fmla="*/ 40 w 288"/>
                <a:gd name="T77" fmla="*/ 126 h 355"/>
                <a:gd name="T78" fmla="*/ 7 w 288"/>
                <a:gd name="T79" fmla="*/ 119 h 355"/>
                <a:gd name="T80" fmla="*/ 3 w 288"/>
                <a:gd name="T81" fmla="*/ 108 h 355"/>
                <a:gd name="T82" fmla="*/ 9 w 288"/>
                <a:gd name="T83" fmla="*/ 84 h 355"/>
                <a:gd name="T84" fmla="*/ 19 w 288"/>
                <a:gd name="T85" fmla="*/ 80 h 355"/>
                <a:gd name="T86" fmla="*/ 21 w 288"/>
                <a:gd name="T87" fmla="*/ 87 h 355"/>
                <a:gd name="T88" fmla="*/ 27 w 288"/>
                <a:gd name="T89" fmla="*/ 95 h 355"/>
                <a:gd name="T90" fmla="*/ 49 w 288"/>
                <a:gd name="T91" fmla="*/ 89 h 355"/>
                <a:gd name="T92" fmla="*/ 84 w 288"/>
                <a:gd name="T93" fmla="*/ 58 h 355"/>
                <a:gd name="T94" fmla="*/ 117 w 288"/>
                <a:gd name="T95" fmla="*/ 21 h 355"/>
                <a:gd name="T96" fmla="*/ 131 w 288"/>
                <a:gd name="T97" fmla="*/ 13 h 355"/>
                <a:gd name="T98" fmla="*/ 152 w 288"/>
                <a:gd name="T99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8" h="355">
                  <a:moveTo>
                    <a:pt x="152" y="0"/>
                  </a:moveTo>
                  <a:lnTo>
                    <a:pt x="167" y="1"/>
                  </a:lnTo>
                  <a:lnTo>
                    <a:pt x="178" y="10"/>
                  </a:lnTo>
                  <a:lnTo>
                    <a:pt x="181" y="22"/>
                  </a:lnTo>
                  <a:lnTo>
                    <a:pt x="192" y="46"/>
                  </a:lnTo>
                  <a:lnTo>
                    <a:pt x="200" y="56"/>
                  </a:lnTo>
                  <a:lnTo>
                    <a:pt x="210" y="65"/>
                  </a:lnTo>
                  <a:lnTo>
                    <a:pt x="222" y="73"/>
                  </a:lnTo>
                  <a:lnTo>
                    <a:pt x="233" y="80"/>
                  </a:lnTo>
                  <a:lnTo>
                    <a:pt x="245" y="77"/>
                  </a:lnTo>
                  <a:lnTo>
                    <a:pt x="254" y="71"/>
                  </a:lnTo>
                  <a:lnTo>
                    <a:pt x="265" y="68"/>
                  </a:lnTo>
                  <a:lnTo>
                    <a:pt x="277" y="74"/>
                  </a:lnTo>
                  <a:lnTo>
                    <a:pt x="285" y="87"/>
                  </a:lnTo>
                  <a:lnTo>
                    <a:pt x="288" y="101"/>
                  </a:lnTo>
                  <a:lnTo>
                    <a:pt x="288" y="115"/>
                  </a:lnTo>
                  <a:lnTo>
                    <a:pt x="278" y="143"/>
                  </a:lnTo>
                  <a:lnTo>
                    <a:pt x="257" y="145"/>
                  </a:lnTo>
                  <a:lnTo>
                    <a:pt x="247" y="144"/>
                  </a:lnTo>
                  <a:lnTo>
                    <a:pt x="238" y="150"/>
                  </a:lnTo>
                  <a:lnTo>
                    <a:pt x="250" y="189"/>
                  </a:lnTo>
                  <a:lnTo>
                    <a:pt x="249" y="211"/>
                  </a:lnTo>
                  <a:lnTo>
                    <a:pt x="236" y="251"/>
                  </a:lnTo>
                  <a:lnTo>
                    <a:pt x="242" y="259"/>
                  </a:lnTo>
                  <a:lnTo>
                    <a:pt x="242" y="263"/>
                  </a:lnTo>
                  <a:lnTo>
                    <a:pt x="246" y="275"/>
                  </a:lnTo>
                  <a:lnTo>
                    <a:pt x="246" y="284"/>
                  </a:lnTo>
                  <a:lnTo>
                    <a:pt x="248" y="294"/>
                  </a:lnTo>
                  <a:lnTo>
                    <a:pt x="249" y="303"/>
                  </a:lnTo>
                  <a:lnTo>
                    <a:pt x="243" y="312"/>
                  </a:lnTo>
                  <a:lnTo>
                    <a:pt x="236" y="319"/>
                  </a:lnTo>
                  <a:lnTo>
                    <a:pt x="234" y="335"/>
                  </a:lnTo>
                  <a:lnTo>
                    <a:pt x="237" y="350"/>
                  </a:lnTo>
                  <a:lnTo>
                    <a:pt x="229" y="355"/>
                  </a:lnTo>
                  <a:lnTo>
                    <a:pt x="219" y="345"/>
                  </a:lnTo>
                  <a:lnTo>
                    <a:pt x="211" y="341"/>
                  </a:lnTo>
                  <a:lnTo>
                    <a:pt x="204" y="337"/>
                  </a:lnTo>
                  <a:lnTo>
                    <a:pt x="189" y="341"/>
                  </a:lnTo>
                  <a:lnTo>
                    <a:pt x="169" y="326"/>
                  </a:lnTo>
                  <a:lnTo>
                    <a:pt x="155" y="326"/>
                  </a:lnTo>
                  <a:lnTo>
                    <a:pt x="141" y="329"/>
                  </a:lnTo>
                  <a:lnTo>
                    <a:pt x="140" y="328"/>
                  </a:lnTo>
                  <a:lnTo>
                    <a:pt x="138" y="326"/>
                  </a:lnTo>
                  <a:lnTo>
                    <a:pt x="136" y="326"/>
                  </a:lnTo>
                  <a:lnTo>
                    <a:pt x="134" y="322"/>
                  </a:lnTo>
                  <a:lnTo>
                    <a:pt x="128" y="320"/>
                  </a:lnTo>
                  <a:lnTo>
                    <a:pt x="125" y="319"/>
                  </a:lnTo>
                  <a:lnTo>
                    <a:pt x="117" y="321"/>
                  </a:lnTo>
                  <a:lnTo>
                    <a:pt x="109" y="320"/>
                  </a:lnTo>
                  <a:lnTo>
                    <a:pt x="102" y="313"/>
                  </a:lnTo>
                  <a:lnTo>
                    <a:pt x="99" y="304"/>
                  </a:lnTo>
                  <a:lnTo>
                    <a:pt x="94" y="296"/>
                  </a:lnTo>
                  <a:lnTo>
                    <a:pt x="91" y="286"/>
                  </a:lnTo>
                  <a:lnTo>
                    <a:pt x="92" y="276"/>
                  </a:lnTo>
                  <a:lnTo>
                    <a:pt x="84" y="271"/>
                  </a:lnTo>
                  <a:lnTo>
                    <a:pt x="83" y="264"/>
                  </a:lnTo>
                  <a:lnTo>
                    <a:pt x="78" y="261"/>
                  </a:lnTo>
                  <a:lnTo>
                    <a:pt x="74" y="264"/>
                  </a:lnTo>
                  <a:lnTo>
                    <a:pt x="70" y="265"/>
                  </a:lnTo>
                  <a:lnTo>
                    <a:pt x="67" y="261"/>
                  </a:lnTo>
                  <a:lnTo>
                    <a:pt x="68" y="257"/>
                  </a:lnTo>
                  <a:lnTo>
                    <a:pt x="69" y="252"/>
                  </a:lnTo>
                  <a:lnTo>
                    <a:pt x="69" y="246"/>
                  </a:lnTo>
                  <a:lnTo>
                    <a:pt x="71" y="245"/>
                  </a:lnTo>
                  <a:lnTo>
                    <a:pt x="72" y="242"/>
                  </a:lnTo>
                  <a:lnTo>
                    <a:pt x="72" y="240"/>
                  </a:lnTo>
                  <a:lnTo>
                    <a:pt x="70" y="237"/>
                  </a:lnTo>
                  <a:lnTo>
                    <a:pt x="61" y="216"/>
                  </a:lnTo>
                  <a:lnTo>
                    <a:pt x="55" y="207"/>
                  </a:lnTo>
                  <a:lnTo>
                    <a:pt x="50" y="204"/>
                  </a:lnTo>
                  <a:lnTo>
                    <a:pt x="39" y="202"/>
                  </a:lnTo>
                  <a:lnTo>
                    <a:pt x="35" y="200"/>
                  </a:lnTo>
                  <a:lnTo>
                    <a:pt x="33" y="193"/>
                  </a:lnTo>
                  <a:lnTo>
                    <a:pt x="41" y="171"/>
                  </a:lnTo>
                  <a:lnTo>
                    <a:pt x="58" y="152"/>
                  </a:lnTo>
                  <a:lnTo>
                    <a:pt x="59" y="132"/>
                  </a:lnTo>
                  <a:lnTo>
                    <a:pt x="50" y="128"/>
                  </a:lnTo>
                  <a:lnTo>
                    <a:pt x="40" y="126"/>
                  </a:lnTo>
                  <a:lnTo>
                    <a:pt x="23" y="118"/>
                  </a:lnTo>
                  <a:lnTo>
                    <a:pt x="7" y="119"/>
                  </a:lnTo>
                  <a:lnTo>
                    <a:pt x="2" y="117"/>
                  </a:lnTo>
                  <a:lnTo>
                    <a:pt x="3" y="108"/>
                  </a:lnTo>
                  <a:lnTo>
                    <a:pt x="0" y="99"/>
                  </a:lnTo>
                  <a:lnTo>
                    <a:pt x="9" y="84"/>
                  </a:lnTo>
                  <a:lnTo>
                    <a:pt x="19" y="77"/>
                  </a:lnTo>
                  <a:lnTo>
                    <a:pt x="19" y="80"/>
                  </a:lnTo>
                  <a:lnTo>
                    <a:pt x="19" y="83"/>
                  </a:lnTo>
                  <a:lnTo>
                    <a:pt x="21" y="87"/>
                  </a:lnTo>
                  <a:lnTo>
                    <a:pt x="23" y="89"/>
                  </a:lnTo>
                  <a:lnTo>
                    <a:pt x="27" y="95"/>
                  </a:lnTo>
                  <a:lnTo>
                    <a:pt x="35" y="99"/>
                  </a:lnTo>
                  <a:lnTo>
                    <a:pt x="49" y="89"/>
                  </a:lnTo>
                  <a:lnTo>
                    <a:pt x="60" y="74"/>
                  </a:lnTo>
                  <a:lnTo>
                    <a:pt x="84" y="58"/>
                  </a:lnTo>
                  <a:lnTo>
                    <a:pt x="100" y="44"/>
                  </a:lnTo>
                  <a:lnTo>
                    <a:pt x="117" y="21"/>
                  </a:lnTo>
                  <a:lnTo>
                    <a:pt x="122" y="16"/>
                  </a:lnTo>
                  <a:lnTo>
                    <a:pt x="131" y="13"/>
                  </a:lnTo>
                  <a:lnTo>
                    <a:pt x="142" y="6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5" name="Anambra"/>
            <p:cNvSpPr>
              <a:spLocks/>
            </p:cNvSpPr>
            <p:nvPr/>
          </p:nvSpPr>
          <p:spPr bwMode="auto">
            <a:xfrm>
              <a:off x="-7730021" y="5265065"/>
              <a:ext cx="368659" cy="527080"/>
            </a:xfrm>
            <a:custGeom>
              <a:avLst/>
              <a:gdLst>
                <a:gd name="T0" fmla="*/ 39 w 228"/>
                <a:gd name="T1" fmla="*/ 309 h 326"/>
                <a:gd name="T2" fmla="*/ 9 w 228"/>
                <a:gd name="T3" fmla="*/ 325 h 326"/>
                <a:gd name="T4" fmla="*/ 1 w 228"/>
                <a:gd name="T5" fmla="*/ 304 h 326"/>
                <a:gd name="T6" fmla="*/ 6 w 228"/>
                <a:gd name="T7" fmla="*/ 289 h 326"/>
                <a:gd name="T8" fmla="*/ 24 w 228"/>
                <a:gd name="T9" fmla="*/ 262 h 326"/>
                <a:gd name="T10" fmla="*/ 26 w 228"/>
                <a:gd name="T11" fmla="*/ 257 h 326"/>
                <a:gd name="T12" fmla="*/ 26 w 228"/>
                <a:gd name="T13" fmla="*/ 249 h 326"/>
                <a:gd name="T14" fmla="*/ 29 w 228"/>
                <a:gd name="T15" fmla="*/ 218 h 326"/>
                <a:gd name="T16" fmla="*/ 35 w 228"/>
                <a:gd name="T17" fmla="*/ 206 h 326"/>
                <a:gd name="T18" fmla="*/ 42 w 228"/>
                <a:gd name="T19" fmla="*/ 203 h 326"/>
                <a:gd name="T20" fmla="*/ 45 w 228"/>
                <a:gd name="T21" fmla="*/ 197 h 326"/>
                <a:gd name="T22" fmla="*/ 46 w 228"/>
                <a:gd name="T23" fmla="*/ 179 h 326"/>
                <a:gd name="T24" fmla="*/ 41 w 228"/>
                <a:gd name="T25" fmla="*/ 168 h 326"/>
                <a:gd name="T26" fmla="*/ 38 w 228"/>
                <a:gd name="T27" fmla="*/ 152 h 326"/>
                <a:gd name="T28" fmla="*/ 31 w 228"/>
                <a:gd name="T29" fmla="*/ 121 h 326"/>
                <a:gd name="T30" fmla="*/ 22 w 228"/>
                <a:gd name="T31" fmla="*/ 82 h 326"/>
                <a:gd name="T32" fmla="*/ 24 w 228"/>
                <a:gd name="T33" fmla="*/ 73 h 326"/>
                <a:gd name="T34" fmla="*/ 39 w 228"/>
                <a:gd name="T35" fmla="*/ 75 h 326"/>
                <a:gd name="T36" fmla="*/ 57 w 228"/>
                <a:gd name="T37" fmla="*/ 63 h 326"/>
                <a:gd name="T38" fmla="*/ 70 w 228"/>
                <a:gd name="T39" fmla="*/ 19 h 326"/>
                <a:gd name="T40" fmla="*/ 93 w 228"/>
                <a:gd name="T41" fmla="*/ 9 h 326"/>
                <a:gd name="T42" fmla="*/ 97 w 228"/>
                <a:gd name="T43" fmla="*/ 20 h 326"/>
                <a:gd name="T44" fmla="*/ 130 w 228"/>
                <a:gd name="T45" fmla="*/ 27 h 326"/>
                <a:gd name="T46" fmla="*/ 149 w 228"/>
                <a:gd name="T47" fmla="*/ 33 h 326"/>
                <a:gd name="T48" fmla="*/ 131 w 228"/>
                <a:gd name="T49" fmla="*/ 72 h 326"/>
                <a:gd name="T50" fmla="*/ 125 w 228"/>
                <a:gd name="T51" fmla="*/ 101 h 326"/>
                <a:gd name="T52" fmla="*/ 140 w 228"/>
                <a:gd name="T53" fmla="*/ 105 h 326"/>
                <a:gd name="T54" fmla="*/ 151 w 228"/>
                <a:gd name="T55" fmla="*/ 117 h 326"/>
                <a:gd name="T56" fmla="*/ 162 w 228"/>
                <a:gd name="T57" fmla="*/ 141 h 326"/>
                <a:gd name="T58" fmla="*/ 161 w 228"/>
                <a:gd name="T59" fmla="*/ 146 h 326"/>
                <a:gd name="T60" fmla="*/ 159 w 228"/>
                <a:gd name="T61" fmla="*/ 153 h 326"/>
                <a:gd name="T62" fmla="*/ 157 w 228"/>
                <a:gd name="T63" fmla="*/ 162 h 326"/>
                <a:gd name="T64" fmla="*/ 164 w 228"/>
                <a:gd name="T65" fmla="*/ 165 h 326"/>
                <a:gd name="T66" fmla="*/ 173 w 228"/>
                <a:gd name="T67" fmla="*/ 165 h 326"/>
                <a:gd name="T68" fmla="*/ 182 w 228"/>
                <a:gd name="T69" fmla="*/ 177 h 326"/>
                <a:gd name="T70" fmla="*/ 184 w 228"/>
                <a:gd name="T71" fmla="*/ 197 h 326"/>
                <a:gd name="T72" fmla="*/ 192 w 228"/>
                <a:gd name="T73" fmla="*/ 214 h 326"/>
                <a:gd name="T74" fmla="*/ 207 w 228"/>
                <a:gd name="T75" fmla="*/ 222 h 326"/>
                <a:gd name="T76" fmla="*/ 218 w 228"/>
                <a:gd name="T77" fmla="*/ 221 h 326"/>
                <a:gd name="T78" fmla="*/ 226 w 228"/>
                <a:gd name="T79" fmla="*/ 227 h 326"/>
                <a:gd name="T80" fmla="*/ 208 w 228"/>
                <a:gd name="T81" fmla="*/ 239 h 326"/>
                <a:gd name="T82" fmla="*/ 182 w 228"/>
                <a:gd name="T83" fmla="*/ 258 h 326"/>
                <a:gd name="T84" fmla="*/ 142 w 228"/>
                <a:gd name="T85" fmla="*/ 257 h 326"/>
                <a:gd name="T86" fmla="*/ 115 w 228"/>
                <a:gd name="T87" fmla="*/ 262 h 326"/>
                <a:gd name="T88" fmla="*/ 100 w 228"/>
                <a:gd name="T89" fmla="*/ 282 h 326"/>
                <a:gd name="T90" fmla="*/ 76 w 228"/>
                <a:gd name="T91" fmla="*/ 30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8" h="326">
                  <a:moveTo>
                    <a:pt x="63" y="303"/>
                  </a:moveTo>
                  <a:lnTo>
                    <a:pt x="39" y="309"/>
                  </a:lnTo>
                  <a:lnTo>
                    <a:pt x="19" y="326"/>
                  </a:lnTo>
                  <a:lnTo>
                    <a:pt x="9" y="325"/>
                  </a:lnTo>
                  <a:lnTo>
                    <a:pt x="0" y="318"/>
                  </a:lnTo>
                  <a:lnTo>
                    <a:pt x="1" y="304"/>
                  </a:lnTo>
                  <a:lnTo>
                    <a:pt x="3" y="296"/>
                  </a:lnTo>
                  <a:lnTo>
                    <a:pt x="6" y="289"/>
                  </a:lnTo>
                  <a:lnTo>
                    <a:pt x="13" y="279"/>
                  </a:lnTo>
                  <a:lnTo>
                    <a:pt x="24" y="262"/>
                  </a:lnTo>
                  <a:lnTo>
                    <a:pt x="25" y="260"/>
                  </a:lnTo>
                  <a:lnTo>
                    <a:pt x="26" y="257"/>
                  </a:lnTo>
                  <a:lnTo>
                    <a:pt x="25" y="252"/>
                  </a:lnTo>
                  <a:lnTo>
                    <a:pt x="26" y="249"/>
                  </a:lnTo>
                  <a:lnTo>
                    <a:pt x="29" y="234"/>
                  </a:lnTo>
                  <a:lnTo>
                    <a:pt x="29" y="218"/>
                  </a:lnTo>
                  <a:lnTo>
                    <a:pt x="30" y="211"/>
                  </a:lnTo>
                  <a:lnTo>
                    <a:pt x="35" y="206"/>
                  </a:lnTo>
                  <a:lnTo>
                    <a:pt x="39" y="205"/>
                  </a:lnTo>
                  <a:lnTo>
                    <a:pt x="42" y="203"/>
                  </a:lnTo>
                  <a:lnTo>
                    <a:pt x="45" y="201"/>
                  </a:lnTo>
                  <a:lnTo>
                    <a:pt x="45" y="197"/>
                  </a:lnTo>
                  <a:lnTo>
                    <a:pt x="47" y="183"/>
                  </a:lnTo>
                  <a:lnTo>
                    <a:pt x="46" y="179"/>
                  </a:lnTo>
                  <a:lnTo>
                    <a:pt x="45" y="175"/>
                  </a:lnTo>
                  <a:lnTo>
                    <a:pt x="41" y="168"/>
                  </a:lnTo>
                  <a:lnTo>
                    <a:pt x="39" y="164"/>
                  </a:lnTo>
                  <a:lnTo>
                    <a:pt x="38" y="152"/>
                  </a:lnTo>
                  <a:lnTo>
                    <a:pt x="33" y="137"/>
                  </a:lnTo>
                  <a:lnTo>
                    <a:pt x="31" y="121"/>
                  </a:lnTo>
                  <a:lnTo>
                    <a:pt x="23" y="91"/>
                  </a:lnTo>
                  <a:lnTo>
                    <a:pt x="22" y="82"/>
                  </a:lnTo>
                  <a:lnTo>
                    <a:pt x="22" y="73"/>
                  </a:lnTo>
                  <a:lnTo>
                    <a:pt x="24" y="73"/>
                  </a:lnTo>
                  <a:lnTo>
                    <a:pt x="31" y="73"/>
                  </a:lnTo>
                  <a:lnTo>
                    <a:pt x="39" y="75"/>
                  </a:lnTo>
                  <a:lnTo>
                    <a:pt x="46" y="74"/>
                  </a:lnTo>
                  <a:lnTo>
                    <a:pt x="57" y="63"/>
                  </a:lnTo>
                  <a:lnTo>
                    <a:pt x="63" y="34"/>
                  </a:lnTo>
                  <a:lnTo>
                    <a:pt x="70" y="19"/>
                  </a:lnTo>
                  <a:lnTo>
                    <a:pt x="90" y="0"/>
                  </a:lnTo>
                  <a:lnTo>
                    <a:pt x="93" y="9"/>
                  </a:lnTo>
                  <a:lnTo>
                    <a:pt x="92" y="18"/>
                  </a:lnTo>
                  <a:lnTo>
                    <a:pt x="97" y="20"/>
                  </a:lnTo>
                  <a:lnTo>
                    <a:pt x="113" y="19"/>
                  </a:lnTo>
                  <a:lnTo>
                    <a:pt x="130" y="27"/>
                  </a:lnTo>
                  <a:lnTo>
                    <a:pt x="140" y="29"/>
                  </a:lnTo>
                  <a:lnTo>
                    <a:pt x="149" y="33"/>
                  </a:lnTo>
                  <a:lnTo>
                    <a:pt x="148" y="53"/>
                  </a:lnTo>
                  <a:lnTo>
                    <a:pt x="131" y="72"/>
                  </a:lnTo>
                  <a:lnTo>
                    <a:pt x="123" y="94"/>
                  </a:lnTo>
                  <a:lnTo>
                    <a:pt x="125" y="101"/>
                  </a:lnTo>
                  <a:lnTo>
                    <a:pt x="129" y="103"/>
                  </a:lnTo>
                  <a:lnTo>
                    <a:pt x="140" y="105"/>
                  </a:lnTo>
                  <a:lnTo>
                    <a:pt x="145" y="108"/>
                  </a:lnTo>
                  <a:lnTo>
                    <a:pt x="151" y="117"/>
                  </a:lnTo>
                  <a:lnTo>
                    <a:pt x="160" y="138"/>
                  </a:lnTo>
                  <a:lnTo>
                    <a:pt x="162" y="141"/>
                  </a:lnTo>
                  <a:lnTo>
                    <a:pt x="162" y="143"/>
                  </a:lnTo>
                  <a:lnTo>
                    <a:pt x="161" y="146"/>
                  </a:lnTo>
                  <a:lnTo>
                    <a:pt x="159" y="147"/>
                  </a:lnTo>
                  <a:lnTo>
                    <a:pt x="159" y="153"/>
                  </a:lnTo>
                  <a:lnTo>
                    <a:pt x="158" y="158"/>
                  </a:lnTo>
                  <a:lnTo>
                    <a:pt x="157" y="162"/>
                  </a:lnTo>
                  <a:lnTo>
                    <a:pt x="160" y="166"/>
                  </a:lnTo>
                  <a:lnTo>
                    <a:pt x="164" y="165"/>
                  </a:lnTo>
                  <a:lnTo>
                    <a:pt x="168" y="162"/>
                  </a:lnTo>
                  <a:lnTo>
                    <a:pt x="173" y="165"/>
                  </a:lnTo>
                  <a:lnTo>
                    <a:pt x="174" y="172"/>
                  </a:lnTo>
                  <a:lnTo>
                    <a:pt x="182" y="177"/>
                  </a:lnTo>
                  <a:lnTo>
                    <a:pt x="181" y="187"/>
                  </a:lnTo>
                  <a:lnTo>
                    <a:pt x="184" y="197"/>
                  </a:lnTo>
                  <a:lnTo>
                    <a:pt x="189" y="205"/>
                  </a:lnTo>
                  <a:lnTo>
                    <a:pt x="192" y="214"/>
                  </a:lnTo>
                  <a:lnTo>
                    <a:pt x="199" y="221"/>
                  </a:lnTo>
                  <a:lnTo>
                    <a:pt x="207" y="222"/>
                  </a:lnTo>
                  <a:lnTo>
                    <a:pt x="215" y="220"/>
                  </a:lnTo>
                  <a:lnTo>
                    <a:pt x="218" y="221"/>
                  </a:lnTo>
                  <a:lnTo>
                    <a:pt x="224" y="223"/>
                  </a:lnTo>
                  <a:lnTo>
                    <a:pt x="226" y="227"/>
                  </a:lnTo>
                  <a:lnTo>
                    <a:pt x="228" y="227"/>
                  </a:lnTo>
                  <a:lnTo>
                    <a:pt x="208" y="239"/>
                  </a:lnTo>
                  <a:lnTo>
                    <a:pt x="194" y="256"/>
                  </a:lnTo>
                  <a:lnTo>
                    <a:pt x="182" y="258"/>
                  </a:lnTo>
                  <a:lnTo>
                    <a:pt x="169" y="262"/>
                  </a:lnTo>
                  <a:lnTo>
                    <a:pt x="142" y="257"/>
                  </a:lnTo>
                  <a:lnTo>
                    <a:pt x="128" y="258"/>
                  </a:lnTo>
                  <a:lnTo>
                    <a:pt x="115" y="262"/>
                  </a:lnTo>
                  <a:lnTo>
                    <a:pt x="103" y="268"/>
                  </a:lnTo>
                  <a:lnTo>
                    <a:pt x="100" y="282"/>
                  </a:lnTo>
                  <a:lnTo>
                    <a:pt x="87" y="305"/>
                  </a:lnTo>
                  <a:lnTo>
                    <a:pt x="76" y="309"/>
                  </a:lnTo>
                  <a:lnTo>
                    <a:pt x="63" y="303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  <p:sp>
          <p:nvSpPr>
            <p:cNvPr id="126" name="Abuja"/>
            <p:cNvSpPr>
              <a:spLocks/>
            </p:cNvSpPr>
            <p:nvPr/>
          </p:nvSpPr>
          <p:spPr bwMode="auto">
            <a:xfrm>
              <a:off x="-7660495" y="4013651"/>
              <a:ext cx="428486" cy="459174"/>
            </a:xfrm>
            <a:custGeom>
              <a:avLst/>
              <a:gdLst>
                <a:gd name="T0" fmla="*/ 264 w 265"/>
                <a:gd name="T1" fmla="*/ 12 h 284"/>
                <a:gd name="T2" fmla="*/ 265 w 265"/>
                <a:gd name="T3" fmla="*/ 18 h 284"/>
                <a:gd name="T4" fmla="*/ 264 w 265"/>
                <a:gd name="T5" fmla="*/ 24 h 284"/>
                <a:gd name="T6" fmla="*/ 260 w 265"/>
                <a:gd name="T7" fmla="*/ 26 h 284"/>
                <a:gd name="T8" fmla="*/ 256 w 265"/>
                <a:gd name="T9" fmla="*/ 27 h 284"/>
                <a:gd name="T10" fmla="*/ 251 w 265"/>
                <a:gd name="T11" fmla="*/ 37 h 284"/>
                <a:gd name="T12" fmla="*/ 244 w 265"/>
                <a:gd name="T13" fmla="*/ 69 h 284"/>
                <a:gd name="T14" fmla="*/ 243 w 265"/>
                <a:gd name="T15" fmla="*/ 88 h 284"/>
                <a:gd name="T16" fmla="*/ 244 w 265"/>
                <a:gd name="T17" fmla="*/ 117 h 284"/>
                <a:gd name="T18" fmla="*/ 231 w 265"/>
                <a:gd name="T19" fmla="*/ 178 h 284"/>
                <a:gd name="T20" fmla="*/ 217 w 265"/>
                <a:gd name="T21" fmla="*/ 215 h 284"/>
                <a:gd name="T22" fmla="*/ 207 w 265"/>
                <a:gd name="T23" fmla="*/ 231 h 284"/>
                <a:gd name="T24" fmla="*/ 194 w 265"/>
                <a:gd name="T25" fmla="*/ 245 h 284"/>
                <a:gd name="T26" fmla="*/ 155 w 265"/>
                <a:gd name="T27" fmla="*/ 265 h 284"/>
                <a:gd name="T28" fmla="*/ 113 w 265"/>
                <a:gd name="T29" fmla="*/ 276 h 284"/>
                <a:gd name="T30" fmla="*/ 69 w 265"/>
                <a:gd name="T31" fmla="*/ 282 h 284"/>
                <a:gd name="T32" fmla="*/ 67 w 265"/>
                <a:gd name="T33" fmla="*/ 283 h 284"/>
                <a:gd name="T34" fmla="*/ 56 w 265"/>
                <a:gd name="T35" fmla="*/ 284 h 284"/>
                <a:gd name="T36" fmla="*/ 44 w 265"/>
                <a:gd name="T37" fmla="*/ 283 h 284"/>
                <a:gd name="T38" fmla="*/ 26 w 265"/>
                <a:gd name="T39" fmla="*/ 284 h 284"/>
                <a:gd name="T40" fmla="*/ 13 w 265"/>
                <a:gd name="T41" fmla="*/ 282 h 284"/>
                <a:gd name="T42" fmla="*/ 5 w 265"/>
                <a:gd name="T43" fmla="*/ 270 h 284"/>
                <a:gd name="T44" fmla="*/ 3 w 265"/>
                <a:gd name="T45" fmla="*/ 265 h 284"/>
                <a:gd name="T46" fmla="*/ 0 w 265"/>
                <a:gd name="T47" fmla="*/ 50 h 284"/>
                <a:gd name="T48" fmla="*/ 2 w 265"/>
                <a:gd name="T49" fmla="*/ 42 h 284"/>
                <a:gd name="T50" fmla="*/ 9 w 265"/>
                <a:gd name="T51" fmla="*/ 38 h 284"/>
                <a:gd name="T52" fmla="*/ 65 w 265"/>
                <a:gd name="T53" fmla="*/ 36 h 284"/>
                <a:gd name="T54" fmla="*/ 82 w 265"/>
                <a:gd name="T55" fmla="*/ 42 h 284"/>
                <a:gd name="T56" fmla="*/ 111 w 265"/>
                <a:gd name="T57" fmla="*/ 68 h 284"/>
                <a:gd name="T58" fmla="*/ 125 w 265"/>
                <a:gd name="T59" fmla="*/ 76 h 284"/>
                <a:gd name="T60" fmla="*/ 127 w 265"/>
                <a:gd name="T61" fmla="*/ 75 h 284"/>
                <a:gd name="T62" fmla="*/ 169 w 265"/>
                <a:gd name="T63" fmla="*/ 16 h 284"/>
                <a:gd name="T64" fmla="*/ 198 w 265"/>
                <a:gd name="T65" fmla="*/ 13 h 284"/>
                <a:gd name="T66" fmla="*/ 206 w 265"/>
                <a:gd name="T67" fmla="*/ 14 h 284"/>
                <a:gd name="T68" fmla="*/ 214 w 265"/>
                <a:gd name="T69" fmla="*/ 15 h 284"/>
                <a:gd name="T70" fmla="*/ 222 w 265"/>
                <a:gd name="T71" fmla="*/ 18 h 284"/>
                <a:gd name="T72" fmla="*/ 229 w 265"/>
                <a:gd name="T73" fmla="*/ 13 h 284"/>
                <a:gd name="T74" fmla="*/ 238 w 265"/>
                <a:gd name="T75" fmla="*/ 0 h 284"/>
                <a:gd name="T76" fmla="*/ 249 w 265"/>
                <a:gd name="T77" fmla="*/ 4 h 284"/>
                <a:gd name="T78" fmla="*/ 254 w 265"/>
                <a:gd name="T79" fmla="*/ 14 h 284"/>
                <a:gd name="T80" fmla="*/ 264 w 265"/>
                <a:gd name="T81" fmla="*/ 12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5" h="284">
                  <a:moveTo>
                    <a:pt x="264" y="12"/>
                  </a:moveTo>
                  <a:lnTo>
                    <a:pt x="265" y="18"/>
                  </a:lnTo>
                  <a:lnTo>
                    <a:pt x="264" y="24"/>
                  </a:lnTo>
                  <a:lnTo>
                    <a:pt x="260" y="26"/>
                  </a:lnTo>
                  <a:lnTo>
                    <a:pt x="256" y="27"/>
                  </a:lnTo>
                  <a:lnTo>
                    <a:pt x="251" y="37"/>
                  </a:lnTo>
                  <a:lnTo>
                    <a:pt x="244" y="69"/>
                  </a:lnTo>
                  <a:lnTo>
                    <a:pt x="243" y="88"/>
                  </a:lnTo>
                  <a:lnTo>
                    <a:pt x="244" y="117"/>
                  </a:lnTo>
                  <a:lnTo>
                    <a:pt x="231" y="178"/>
                  </a:lnTo>
                  <a:lnTo>
                    <a:pt x="217" y="215"/>
                  </a:lnTo>
                  <a:lnTo>
                    <a:pt x="207" y="231"/>
                  </a:lnTo>
                  <a:lnTo>
                    <a:pt x="194" y="245"/>
                  </a:lnTo>
                  <a:lnTo>
                    <a:pt x="155" y="265"/>
                  </a:lnTo>
                  <a:lnTo>
                    <a:pt x="113" y="276"/>
                  </a:lnTo>
                  <a:lnTo>
                    <a:pt x="69" y="282"/>
                  </a:lnTo>
                  <a:lnTo>
                    <a:pt x="67" y="283"/>
                  </a:lnTo>
                  <a:lnTo>
                    <a:pt x="56" y="284"/>
                  </a:lnTo>
                  <a:lnTo>
                    <a:pt x="44" y="283"/>
                  </a:lnTo>
                  <a:lnTo>
                    <a:pt x="26" y="284"/>
                  </a:lnTo>
                  <a:lnTo>
                    <a:pt x="13" y="282"/>
                  </a:lnTo>
                  <a:lnTo>
                    <a:pt x="5" y="270"/>
                  </a:lnTo>
                  <a:lnTo>
                    <a:pt x="3" y="265"/>
                  </a:lnTo>
                  <a:lnTo>
                    <a:pt x="0" y="50"/>
                  </a:lnTo>
                  <a:lnTo>
                    <a:pt x="2" y="42"/>
                  </a:lnTo>
                  <a:lnTo>
                    <a:pt x="9" y="38"/>
                  </a:lnTo>
                  <a:lnTo>
                    <a:pt x="65" y="36"/>
                  </a:lnTo>
                  <a:lnTo>
                    <a:pt x="82" y="42"/>
                  </a:lnTo>
                  <a:lnTo>
                    <a:pt x="111" y="68"/>
                  </a:lnTo>
                  <a:lnTo>
                    <a:pt x="125" y="76"/>
                  </a:lnTo>
                  <a:lnTo>
                    <a:pt x="127" y="75"/>
                  </a:lnTo>
                  <a:lnTo>
                    <a:pt x="169" y="16"/>
                  </a:lnTo>
                  <a:lnTo>
                    <a:pt x="198" y="13"/>
                  </a:lnTo>
                  <a:lnTo>
                    <a:pt x="206" y="14"/>
                  </a:lnTo>
                  <a:lnTo>
                    <a:pt x="214" y="15"/>
                  </a:lnTo>
                  <a:lnTo>
                    <a:pt x="222" y="18"/>
                  </a:lnTo>
                  <a:lnTo>
                    <a:pt x="229" y="13"/>
                  </a:lnTo>
                  <a:lnTo>
                    <a:pt x="238" y="0"/>
                  </a:lnTo>
                  <a:lnTo>
                    <a:pt x="249" y="4"/>
                  </a:lnTo>
                  <a:lnTo>
                    <a:pt x="254" y="14"/>
                  </a:lnTo>
                  <a:lnTo>
                    <a:pt x="264" y="12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0" rIns="0" bIns="0" rtlCol="0" anchor="ctr" anchorCtr="0"/>
            <a:lstStyle/>
            <a:p>
              <a:pPr algn="ctr" defTabSz="685800" hangingPunct="0"/>
              <a:endParaRPr lang="en-US" sz="135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ndara"/>
                <a:sym typeface="Helvetica"/>
              </a:endParaRPr>
            </a:p>
          </p:txBody>
        </p:sp>
      </p:grpSp>
      <p:sp>
        <p:nvSpPr>
          <p:cNvPr id="75" name="Rectangle 74"/>
          <p:cNvSpPr/>
          <p:nvPr/>
        </p:nvSpPr>
        <p:spPr>
          <a:xfrm>
            <a:off x="7981752" y="1281320"/>
            <a:ext cx="2748939" cy="3693319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lvl="1" defTabSz="685800" hangingPunct="0"/>
            <a:endParaRPr lang="en-US" b="1" kern="0" dirty="0">
              <a:solidFill>
                <a:srgbClr val="000000"/>
              </a:solidFill>
              <a:latin typeface="Candara"/>
              <a:sym typeface="Helvetica"/>
            </a:endParaRPr>
          </a:p>
          <a:p>
            <a:pPr marL="0" lvl="1" defTabSz="685800" hangingPunct="0"/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Profile(2025)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5,453,000 People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21 LGAs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226 Wards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Total no of HFs: 1,070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BHCPF PHCs: 226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Teaching Hospital: 1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FMC: 2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1 Specialist Hospital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19 General Hospitals</a:t>
            </a:r>
          </a:p>
          <a:p>
            <a:pPr marL="85050" lvl="1" indent="-192881" defTabSz="685800" hangingPunct="0">
              <a:buFont typeface="Arial"/>
              <a:buChar char="•"/>
            </a:pPr>
            <a:r>
              <a:rPr lang="en-US" b="1" kern="0" dirty="0">
                <a:solidFill>
                  <a:srgbClr val="000000"/>
                </a:solidFill>
                <a:latin typeface="Candara"/>
                <a:sym typeface="Helvetica"/>
              </a:rPr>
              <a:t>Private Hospitals: 150</a:t>
            </a:r>
          </a:p>
          <a:p>
            <a:pPr marL="0" lvl="1" defTabSz="685800" hangingPunct="0"/>
            <a:endParaRPr lang="en-US" b="1" kern="0" dirty="0">
              <a:solidFill>
                <a:srgbClr val="000000"/>
              </a:solidFill>
              <a:latin typeface="Candara"/>
              <a:sym typeface="Helvetica"/>
            </a:endParaRPr>
          </a:p>
        </p:txBody>
      </p:sp>
      <p:pic>
        <p:nvPicPr>
          <p:cNvPr id="77" name="Picture 7" descr="C:\Users\DR BELLO SIKITI\Desktop\adamawa-map.png">
            <a:extLst>
              <a:ext uri="{FF2B5EF4-FFF2-40B4-BE49-F238E27FC236}">
                <a16:creationId xmlns:a16="http://schemas.microsoft.com/office/drawing/2014/main" id="{83B5C1DA-9DA8-884D-ABC1-5E16C64855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9638" y="2138538"/>
            <a:ext cx="3259901" cy="317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2EA36EB-D550-02FA-4B71-AFB74EDAE661}"/>
              </a:ext>
            </a:extLst>
          </p:cNvPr>
          <p:cNvSpPr txBox="1"/>
          <p:nvPr/>
        </p:nvSpPr>
        <p:spPr>
          <a:xfrm>
            <a:off x="1359074" y="429889"/>
            <a:ext cx="646557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b="1" dirty="0">
                <a:solidFill>
                  <a:srgbClr val="FF0000"/>
                </a:solidFill>
                <a:ea typeface="+mj-ea"/>
                <a:cs typeface="+mj-cs"/>
                <a:sym typeface="Candara" panose="020E0502030303020204" pitchFamily="34" charset="0"/>
              </a:rPr>
              <a:t>State Context</a:t>
            </a:r>
          </a:p>
          <a:p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7134129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D6DF0-D25A-BB40-ABAA-F6E3CDF84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381" y="-61733"/>
            <a:ext cx="10528661" cy="1066800"/>
          </a:xfrm>
        </p:spPr>
        <p:txBody>
          <a:bodyPr vert="horz" anchor="ctr">
            <a:noAutofit/>
          </a:bodyPr>
          <a:lstStyle/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Overview of the IMPACT Project &amp; Objectives in Adamawa State</a:t>
            </a:r>
            <a:endParaRPr lang="en-US" sz="2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2AD58B-4FA2-5941-9350-BAFE731520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2227" y="678496"/>
            <a:ext cx="10528661" cy="5317890"/>
          </a:xfrm>
        </p:spPr>
        <p:txBody>
          <a:bodyPr>
            <a:noAutofit/>
          </a:bodyPr>
          <a:lstStyle/>
          <a:p>
            <a:pPr marL="457200" indent="-45720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s one of the Multi-phase programmatic approach MPA known as </a:t>
            </a:r>
            <a:r>
              <a:rPr lang="en-US" sz="2000" b="1" i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munization plus and Malaria Progress by Accelerating Coverage and Transforming Services (IMPACT)-</a:t>
            </a: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World Bank supported program being implemented since 2022 date</a:t>
            </a:r>
          </a:p>
          <a:p>
            <a:pPr marL="457200" indent="-45720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 overall program objective of reducing under five mortality rate by 50%. Mainly to Strengthen immunization and RMNCAH+N service delivery and to reduce morbidity and mortality in children under the age of five (5) years. The project intervention areas includes:</a:t>
            </a:r>
          </a:p>
          <a:p>
            <a:pPr marL="914400" lvl="1" indent="-4572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rect funding of health facilities for service provision through decentralized facility financing (DFF) to 226 PHCs across 21 LGAs</a:t>
            </a:r>
          </a:p>
          <a:p>
            <a:pPr marL="914400" lvl="1" indent="-4572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ding of outreach services to improve Routine immunization service delivery in the state</a:t>
            </a:r>
          </a:p>
          <a:p>
            <a:pPr marL="914400" lvl="1" indent="-4572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perations support to strengthening monitoring and evaluation through digitization of 226 PHCs NHMIS data reporting and provision of 226 laptops</a:t>
            </a:r>
          </a:p>
          <a:p>
            <a:pPr marL="914400" lvl="1" indent="-4572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ealth system strengthening intervention by revitalizing of 70 PHCs </a:t>
            </a:r>
          </a:p>
          <a:p>
            <a:pPr marL="914400" lvl="1" indent="-4572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mongst several other innovative approaches that will strengthen the health system.</a:t>
            </a:r>
            <a:endParaRPr lang="en-GB" sz="20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9220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7074D41-1C8D-758C-1ACC-CC93544C61C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6743070"/>
              </p:ext>
            </p:extLst>
          </p:nvPr>
        </p:nvGraphicFramePr>
        <p:xfrm>
          <a:off x="1479552" y="1043354"/>
          <a:ext cx="9874248" cy="360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6882">
                  <a:extLst>
                    <a:ext uri="{9D8B030D-6E8A-4147-A177-3AD203B41FA5}">
                      <a16:colId xmlns:a16="http://schemas.microsoft.com/office/drawing/2014/main" val="2999232701"/>
                    </a:ext>
                  </a:extLst>
                </a:gridCol>
                <a:gridCol w="2845950">
                  <a:extLst>
                    <a:ext uri="{9D8B030D-6E8A-4147-A177-3AD203B41FA5}">
                      <a16:colId xmlns:a16="http://schemas.microsoft.com/office/drawing/2014/main" val="1400960072"/>
                    </a:ext>
                  </a:extLst>
                </a:gridCol>
                <a:gridCol w="3291416">
                  <a:extLst>
                    <a:ext uri="{9D8B030D-6E8A-4147-A177-3AD203B41FA5}">
                      <a16:colId xmlns:a16="http://schemas.microsoft.com/office/drawing/2014/main" val="32310951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hematic Area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arget (2025)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chieved 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376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LINs distribut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????</a:t>
                      </a:r>
                      <a:endParaRPr lang="en-NG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G" sz="1800" b="0" i="0" u="none" strike="noStrike">
                          <a:effectLst/>
                          <a:latin typeface="Arial" panose="020B0604020202020204" pitchFamily="34" charset="0"/>
                        </a:rPr>
                        <a:t> 132,871 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5124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Health Workers recruit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6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6-1/HFs 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491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Health Workers train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00,000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00,000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0937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HCs without vaccine stockouts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80%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378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ssential Medicines procured and distribut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6-HFs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6-HFs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4593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ama kits suppli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50/226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3,900-----100%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093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upportive supervision conduct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1841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utreach sessions conducted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120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120 HTR settlement </a:t>
                      </a:r>
                      <a:endParaRPr lang="en-NG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0623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CAEB3-95A2-6C3F-7A42-52A37DA2F9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7BFFC0-BD1F-8616-9977-D1242F2D5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365125"/>
            <a:ext cx="9874322" cy="678229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4">
                    <a:lumMod val="75000"/>
                  </a:schemeClr>
                </a:solidFill>
              </a:rPr>
              <a:t>Key Achievements at-a-Glance - example </a:t>
            </a:r>
            <a:endParaRPr lang="en-NG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027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F76C5B-1F77-4865-9DA6-C4F5F167EC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633924D-87EC-1C22-FFB2-C35B09D1D1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9" y="398585"/>
            <a:ext cx="9874321" cy="5712283"/>
          </a:xfrm>
        </p:spPr>
        <p:txBody>
          <a:bodyPr>
            <a:normAutofit fontScale="92500" lnSpcReduction="2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3000" b="1" dirty="0"/>
              <a:t>Subcomponent 2.1: Strengthening Service Delivery: </a:t>
            </a:r>
            <a:r>
              <a:rPr lang="en-US" sz="3000" dirty="0"/>
              <a:t>examples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DFF implemented in 226 PHC and has improved </a:t>
            </a:r>
            <a:r>
              <a:rPr lang="en-US" sz="3200" dirty="0"/>
              <a:t> access, quality, or coverage in the 21 LGA as follows</a:t>
            </a:r>
            <a:r>
              <a:rPr lang="en-US" sz="3200" dirty="0">
                <a:solidFill>
                  <a:srgbClr val="C30C3E"/>
                </a:solidFill>
              </a:rPr>
              <a:t>: </a:t>
            </a:r>
            <a:r>
              <a:rPr lang="en-US" sz="3200" dirty="0"/>
              <a:t>Drugs, integrated outreaches</a:t>
            </a:r>
            <a:endParaRPr lang="en-US" sz="3000" dirty="0"/>
          </a:p>
          <a:p>
            <a:pPr>
              <a:spcAft>
                <a:spcPts val="600"/>
              </a:spcAft>
            </a:pPr>
            <a:r>
              <a:rPr lang="en-US" sz="3000" dirty="0"/>
              <a:t>226 PHCs  supported to conduct monthly integrated PHC  outreaches services in 1120    hard to reach settlements across   21 LGAs</a:t>
            </a:r>
          </a:p>
          <a:p>
            <a:pPr>
              <a:spcAft>
                <a:spcPts val="600"/>
              </a:spcAft>
            </a:pPr>
            <a:r>
              <a:rPr lang="en-NG" sz="3200" b="0" i="0" u="none" strike="noStrike" dirty="0">
                <a:effectLst/>
                <a:latin typeface="Arial" panose="020B0604020202020204" pitchFamily="34" charset="0"/>
              </a:rPr>
              <a:t>170,429 </a:t>
            </a:r>
            <a:r>
              <a:rPr lang="en-US" sz="3000" dirty="0"/>
              <a:t> newborns reached with postnatal care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226 PHCs implement </a:t>
            </a:r>
            <a:r>
              <a:rPr lang="en-US" sz="3000" dirty="0" err="1"/>
              <a:t>BEmONC</a:t>
            </a:r>
            <a:r>
              <a:rPr lang="en-US" sz="3000" dirty="0"/>
              <a:t> standards services 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79 PHCs being revitalized (67 completed 85%)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increased from </a:t>
            </a:r>
            <a:r>
              <a:rPr lang="en-NG" sz="3000" dirty="0"/>
              <a:t>44,708 in 2022 to 120,897 </a:t>
            </a:r>
            <a:r>
              <a:rPr lang="en-US" sz="3000" dirty="0"/>
              <a:t> from January to  September 2025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226 PHCs supported with 33,900Mama Kits@150/HF</a:t>
            </a:r>
          </a:p>
          <a:p>
            <a:pPr marL="0" indent="0">
              <a:spcAft>
                <a:spcPts val="600"/>
              </a:spcAft>
              <a:buNone/>
            </a:pPr>
            <a:endParaRPr lang="en-US" sz="3000" dirty="0"/>
          </a:p>
          <a:p>
            <a:pPr marL="0" indent="0">
              <a:buNone/>
            </a:pPr>
            <a:endParaRPr lang="en-N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F52AFD-F15D-3138-41D7-A2FEFBBE97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7C0983-7457-7851-88D8-EAB5E8E1C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72049"/>
            <a:ext cx="9874322" cy="374713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4">
                    <a:lumMod val="75000"/>
                  </a:schemeClr>
                </a:solidFill>
              </a:rPr>
              <a:t>Component 2 Achievement- Immunization Plus</a:t>
            </a:r>
            <a:endParaRPr lang="en-NG" sz="32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483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F76C5B-1F77-4865-9DA6-C4F5F167EC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633924D-87EC-1C22-FFB2-C35B09D1D1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9" y="398585"/>
            <a:ext cx="9874321" cy="5943600"/>
          </a:xfrm>
        </p:spPr>
        <p:txBody>
          <a:bodyPr>
            <a:normAutofit fontScale="92500"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3000" b="1" dirty="0"/>
              <a:t>Subcomponent 2.2: Health Systems Strengthening &amp; Technical Assistance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Conducted DFF refresher training :</a:t>
            </a:r>
          </a:p>
          <a:p>
            <a:pPr lvl="1">
              <a:spcAft>
                <a:spcPts val="600"/>
              </a:spcAft>
            </a:pPr>
            <a:r>
              <a:rPr lang="en-US" sz="2600" dirty="0"/>
              <a:t>Training of FMs and data clerks (452) On digitalization</a:t>
            </a:r>
          </a:p>
          <a:p>
            <a:pPr lvl="1">
              <a:spcAft>
                <a:spcPts val="600"/>
              </a:spcAft>
            </a:pPr>
            <a:r>
              <a:rPr lang="en-US" sz="2600" dirty="0"/>
              <a:t>Provided 226 with Laptops </a:t>
            </a:r>
          </a:p>
          <a:p>
            <a:pPr lvl="1">
              <a:spcAft>
                <a:spcPts val="600"/>
              </a:spcAft>
            </a:pPr>
            <a:r>
              <a:rPr lang="en-US" sz="2600" dirty="0"/>
              <a:t>Training on ESMP 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Two rounds of DQAs completed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Improved DHIS2 reporting timeliness from 72 % in 2022 to 100% in 2025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Two rounds ISS and Quality of care assessment conducted</a:t>
            </a:r>
          </a:p>
          <a:p>
            <a:pPr>
              <a:spcAft>
                <a:spcPts val="600"/>
              </a:spcAft>
            </a:pPr>
            <a:r>
              <a:rPr lang="en-US" sz="3000" dirty="0"/>
              <a:t>Payment of Q1 and Q2 LGA performance framework to 21 LGAs completed . </a:t>
            </a:r>
          </a:p>
          <a:p>
            <a:pPr marL="0" indent="0">
              <a:buNone/>
            </a:pPr>
            <a:endParaRPr lang="en-NG" dirty="0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F52AFD-F15D-3138-41D7-A2FEFBBE97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7C0983-7457-7851-88D8-EAB5E8E1C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72049"/>
            <a:ext cx="9874322" cy="374713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4">
                    <a:lumMod val="75000"/>
                  </a:schemeClr>
                </a:solidFill>
              </a:rPr>
              <a:t>Component 2 Achievement- Immunization Plus</a:t>
            </a:r>
            <a:endParaRPr lang="en-NG" sz="32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948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EBC26EB-AE01-4F31-914E-A9D97797D9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8565458"/>
              </p:ext>
            </p:extLst>
          </p:nvPr>
        </p:nvGraphicFramePr>
        <p:xfrm>
          <a:off x="1332412" y="933256"/>
          <a:ext cx="9187542" cy="4991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96469">
                  <a:extLst>
                    <a:ext uri="{9D8B030D-6E8A-4147-A177-3AD203B41FA5}">
                      <a16:colId xmlns:a16="http://schemas.microsoft.com/office/drawing/2014/main" val="3916526374"/>
                    </a:ext>
                  </a:extLst>
                </a:gridCol>
                <a:gridCol w="2179690">
                  <a:extLst>
                    <a:ext uri="{9D8B030D-6E8A-4147-A177-3AD203B41FA5}">
                      <a16:colId xmlns:a16="http://schemas.microsoft.com/office/drawing/2014/main" val="3382208981"/>
                    </a:ext>
                  </a:extLst>
                </a:gridCol>
                <a:gridCol w="1811383">
                  <a:extLst>
                    <a:ext uri="{9D8B030D-6E8A-4147-A177-3AD203B41FA5}">
                      <a16:colId xmlns:a16="http://schemas.microsoft.com/office/drawing/2014/main" val="3688599587"/>
                    </a:ext>
                  </a:extLst>
                </a:gridCol>
              </a:tblGrid>
              <a:tr h="1317829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700"/>
                        <a:buFont typeface="Calibri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</a:rPr>
                        <a:t>IMPACT INDICATORS</a:t>
                      </a:r>
                      <a:endParaRPr sz="1600" b="1" i="0" u="none" strike="noStrike" cap="none" dirty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Baseline (Jan. to Sept 2022)</a:t>
                      </a:r>
                      <a:endParaRPr lang="en-NG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urrent achievement (Jan -sept 2025)</a:t>
                      </a:r>
                      <a:endParaRPr lang="en-NG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2247736"/>
                  </a:ext>
                </a:extLst>
              </a:tr>
              <a:tr h="573097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Persons presenting with fever &amp; tested by RDT &amp; Microscopy &lt;5yr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64,32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132,871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26696594"/>
                  </a:ext>
                </a:extLst>
              </a:tr>
              <a:tr h="573097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Persons with Confirmed Uncomplicated Malaria treated with ACT &lt;5yr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50,87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  86,554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99118771"/>
                  </a:ext>
                </a:extLst>
              </a:tr>
              <a:tr h="38075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effectLst/>
                          <a:latin typeface="Arial" panose="020B0604020202020204" pitchFamily="34" charset="0"/>
                        </a:rPr>
                        <a:t>IPT3p use by Pregnant wom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>
                          <a:effectLst/>
                          <a:latin typeface="Arial" panose="020B0604020202020204" pitchFamily="34" charset="0"/>
                        </a:rPr>
                        <a:t>      31,84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  68,190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2267594"/>
                  </a:ext>
                </a:extLst>
              </a:tr>
              <a:tr h="499932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Deliveries by Skilled Birth Attendants (SBA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44,70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120,897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78778772"/>
                  </a:ext>
                </a:extLst>
              </a:tr>
              <a:tr h="499932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Postnatal Clinic Visits Mothers &amp; Newborns 2 - 3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>
                          <a:effectLst/>
                          <a:latin typeface="Arial" panose="020B0604020202020204" pitchFamily="34" charset="0"/>
                        </a:rPr>
                        <a:t>      33,17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170,42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07664224"/>
                  </a:ext>
                </a:extLst>
              </a:tr>
              <a:tr h="38075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Measles 1 giv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>
                          <a:effectLst/>
                          <a:latin typeface="Arial" panose="020B0604020202020204" pitchFamily="34" charset="0"/>
                        </a:rPr>
                        <a:t>      61,6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  92,053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96511031"/>
                  </a:ext>
                </a:extLst>
              </a:tr>
              <a:tr h="38075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Penta 3 giv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>
                          <a:effectLst/>
                          <a:latin typeface="Arial" panose="020B0604020202020204" pitchFamily="34" charset="0"/>
                        </a:rPr>
                        <a:t>      71,81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  98,813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61073074"/>
                  </a:ext>
                </a:extLst>
              </a:tr>
              <a:tr h="385324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effectLst/>
                          <a:latin typeface="Arial" panose="020B0604020202020204" pitchFamily="34" charset="0"/>
                        </a:rPr>
                        <a:t>Children &lt;5 yrs &amp; PW who received LLI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16,52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G" sz="1600" b="0" i="0" u="none" strike="noStrike" dirty="0">
                          <a:effectLst/>
                          <a:latin typeface="Arial" panose="020B0604020202020204" pitchFamily="34" charset="0"/>
                        </a:rPr>
                        <a:t>      132,871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6961196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C1EF21-AECC-12A7-60D0-C0A8175B30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D364DE-5073-4F49-1941-49569C0F1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135685"/>
            <a:ext cx="9874322" cy="973395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4">
                    <a:lumMod val="75000"/>
                  </a:schemeClr>
                </a:solidFill>
              </a:rPr>
              <a:t>Progress towards PDO Achievement </a:t>
            </a:r>
            <a:endParaRPr lang="en-NG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819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835B37B-6364-CC09-0B81-F4449E71DC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9479" y="881036"/>
            <a:ext cx="9874321" cy="509592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lection of new 226 WDCs</a:t>
            </a:r>
          </a:p>
          <a:p>
            <a:pPr>
              <a:spcAft>
                <a:spcPts val="600"/>
              </a:spcAft>
            </a:pPr>
            <a:r>
              <a:rPr lang="en-US" dirty="0"/>
              <a:t>Orientation and distribution of </a:t>
            </a:r>
            <a:r>
              <a:rPr lang="en-US" dirty="0" err="1"/>
              <a:t>ToR</a:t>
            </a:r>
            <a:r>
              <a:rPr lang="en-US" dirty="0"/>
              <a:t> to WDC chairmen members</a:t>
            </a:r>
          </a:p>
          <a:p>
            <a:pPr>
              <a:spcAft>
                <a:spcPts val="600"/>
              </a:spcAft>
            </a:pPr>
            <a:r>
              <a:rPr lang="en-US" dirty="0"/>
              <a:t>Visit to newly created (7) chiefdoms: project implementation, data and role in improving health services </a:t>
            </a:r>
          </a:p>
          <a:p>
            <a:pPr>
              <a:spcAft>
                <a:spcPts val="600"/>
              </a:spcAft>
            </a:pPr>
            <a:r>
              <a:rPr lang="en-US" dirty="0"/>
              <a:t>Performance review –award/recognition to LGA executive chairmen, Chiefdoms and PHCs</a:t>
            </a:r>
          </a:p>
          <a:p>
            <a:r>
              <a:rPr lang="en-NG" dirty="0"/>
              <a:t>Deployment of SBAs to 226 health facilities</a:t>
            </a:r>
          </a:p>
          <a:p>
            <a:pPr marL="0" indent="0">
              <a:buNone/>
            </a:pPr>
            <a:endParaRPr lang="en-N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477687-2E9C-4C1F-A713-C5B8F4ED69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FB666-E028-425D-A846-5F60FBC6F389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A84290-35B1-41E7-CCC5-27B0219D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9478" y="66187"/>
            <a:ext cx="9874322" cy="719259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4">
                    <a:lumMod val="75000"/>
                  </a:schemeClr>
                </a:solidFill>
              </a:rPr>
              <a:t>Component 3 Achievement - Knowledge for Change</a:t>
            </a:r>
            <a:endParaRPr lang="en-NG" sz="32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2017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PACT Template" id="{F7B1DA94-3679-4DAA-BF4C-9AB89DD147F0}" vid="{19B4C0E3-1E42-43A3-AE14-D445DB317EDB}"/>
    </a:ext>
  </a:extLst>
</a:theme>
</file>

<file path=ppt/theme/theme2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PACT Template" id="{F7B1DA94-3679-4DAA-BF4C-9AB89DD147F0}" vid="{19B4C0E3-1E42-43A3-AE14-D445DB317ED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4286bbc-843d-490c-a8e4-398d4755107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16C9618CBB864B9D4C9A6B32ADDCA7" ma:contentTypeVersion="18" ma:contentTypeDescription="Create a new document." ma:contentTypeScope="" ma:versionID="52736fc10af74eec9833fd507ed554e4">
  <xsd:schema xmlns:xsd="http://www.w3.org/2001/XMLSchema" xmlns:xs="http://www.w3.org/2001/XMLSchema" xmlns:p="http://schemas.microsoft.com/office/2006/metadata/properties" xmlns:ns3="34286bbc-843d-490c-a8e4-398d47551071" xmlns:ns4="be017f1b-9eb8-4eb9-a81e-2a7bf4e460da" targetNamespace="http://schemas.microsoft.com/office/2006/metadata/properties" ma:root="true" ma:fieldsID="cb1c6420b125e56d2e6bc63505a19160" ns3:_="" ns4:_="">
    <xsd:import namespace="34286bbc-843d-490c-a8e4-398d47551071"/>
    <xsd:import namespace="be017f1b-9eb8-4eb9-a81e-2a7bf4e460d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286bbc-843d-490c-a8e4-398d475510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017f1b-9eb8-4eb9-a81e-2a7bf4e460d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1ED97DA-A5C3-431F-97DE-4BB3A09BBD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02675D-9182-464D-9F32-2A9138512FE8}">
  <ds:schemaRefs>
    <ds:schemaRef ds:uri="be017f1b-9eb8-4eb9-a81e-2a7bf4e460da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dcmitype/"/>
    <ds:schemaRef ds:uri="34286bbc-843d-490c-a8e4-398d47551071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3A562AA-2F9F-4FB8-B47D-BD97CC1C804C}">
  <ds:schemaRefs>
    <ds:schemaRef ds:uri="34286bbc-843d-490c-a8e4-398d47551071"/>
    <ds:schemaRef ds:uri="be017f1b-9eb8-4eb9-a81e-2a7bf4e460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313</TotalTime>
  <Words>978</Words>
  <Application>Microsoft Office PowerPoint</Application>
  <PresentationFormat>Widescreen</PresentationFormat>
  <Paragraphs>158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ptos</vt:lpstr>
      <vt:lpstr>Arial</vt:lpstr>
      <vt:lpstr>Calibri</vt:lpstr>
      <vt:lpstr>Candara</vt:lpstr>
      <vt:lpstr>Times New Roman</vt:lpstr>
      <vt:lpstr>1_Office Theme</vt:lpstr>
      <vt:lpstr>2_Office Theme</vt:lpstr>
      <vt:lpstr>think-cell Slide</vt:lpstr>
      <vt:lpstr>PowerPoint Presentation</vt:lpstr>
      <vt:lpstr>Outline </vt:lpstr>
      <vt:lpstr>Nigeria Adamawa State</vt:lpstr>
      <vt:lpstr>Overview of the IMPACT Project &amp; Objectives in Adamawa State</vt:lpstr>
      <vt:lpstr>Key Achievements at-a-Glance - example </vt:lpstr>
      <vt:lpstr>Component 2 Achievement- Immunization Plus</vt:lpstr>
      <vt:lpstr>Component 2 Achievement- Immunization Plus</vt:lpstr>
      <vt:lpstr>Progress towards PDO Achievement </vt:lpstr>
      <vt:lpstr>Component 3 Achievement - Knowledge for Change</vt:lpstr>
      <vt:lpstr>Cross-Cutting Achievements</vt:lpstr>
      <vt:lpstr>Challenges and Mitigation</vt:lpstr>
      <vt:lpstr>Key Lessons Learnt</vt:lpstr>
      <vt:lpstr>Conclusion</vt:lpstr>
      <vt:lpstr>PowerPoint Presentation</vt:lpstr>
    </vt:vector>
  </TitlesOfParts>
  <Company>WB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apo Ajibola</dc:creator>
  <cp:lastModifiedBy>kwabedrambi@gmail.com</cp:lastModifiedBy>
  <cp:revision>63</cp:revision>
  <cp:lastPrinted>2025-06-17T16:25:07Z</cp:lastPrinted>
  <dcterms:created xsi:type="dcterms:W3CDTF">2024-11-23T12:36:26Z</dcterms:created>
  <dcterms:modified xsi:type="dcterms:W3CDTF">2026-01-14T10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16C9618CBB864B9D4C9A6B32ADDCA7</vt:lpwstr>
  </property>
</Properties>
</file>